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1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4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4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heme/themeOverride5.xml" ContentType="application/vnd.openxmlformats-officedocument.themeOverr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7.xml" ContentType="application/vnd.openxmlformats-officedocument.drawingml.chart+xml"/>
  <Override PartName="/ppt/notesSlides/notesSlide26.xml" ContentType="application/vnd.openxmlformats-officedocument.presentationml.notesSlide+xml"/>
  <Override PartName="/ppt/charts/chart28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91" r:id="rId3"/>
    <p:sldMasterId id="2147483744" r:id="rId4"/>
    <p:sldMasterId id="2147483827" r:id="rId5"/>
    <p:sldMasterId id="2147483872" r:id="rId6"/>
    <p:sldMasterId id="2147483925" r:id="rId7"/>
    <p:sldMasterId id="2147483942" r:id="rId8"/>
    <p:sldMasterId id="2147483950" r:id="rId9"/>
    <p:sldMasterId id="2147483957" r:id="rId10"/>
    <p:sldMasterId id="2147483966" r:id="rId11"/>
    <p:sldMasterId id="2147483977" r:id="rId12"/>
    <p:sldMasterId id="2147483988" r:id="rId13"/>
  </p:sldMasterIdLst>
  <p:notesMasterIdLst>
    <p:notesMasterId r:id="rId65"/>
  </p:notesMasterIdLst>
  <p:sldIdLst>
    <p:sldId id="765" r:id="rId14"/>
    <p:sldId id="1734" r:id="rId15"/>
    <p:sldId id="1735" r:id="rId16"/>
    <p:sldId id="1736" r:id="rId17"/>
    <p:sldId id="1766" r:id="rId18"/>
    <p:sldId id="1349" r:id="rId19"/>
    <p:sldId id="1568" r:id="rId20"/>
    <p:sldId id="1737" r:id="rId21"/>
    <p:sldId id="1738" r:id="rId22"/>
    <p:sldId id="1569" r:id="rId23"/>
    <p:sldId id="1740" r:id="rId24"/>
    <p:sldId id="1743" r:id="rId25"/>
    <p:sldId id="1744" r:id="rId26"/>
    <p:sldId id="1745" r:id="rId27"/>
    <p:sldId id="1769" r:id="rId28"/>
    <p:sldId id="1770" r:id="rId29"/>
    <p:sldId id="1771" r:id="rId30"/>
    <p:sldId id="1772" r:id="rId31"/>
    <p:sldId id="1773" r:id="rId32"/>
    <p:sldId id="1774" r:id="rId33"/>
    <p:sldId id="1775" r:id="rId34"/>
    <p:sldId id="1776" r:id="rId35"/>
    <p:sldId id="1777" r:id="rId36"/>
    <p:sldId id="1616" r:id="rId37"/>
    <p:sldId id="1590" r:id="rId38"/>
    <p:sldId id="1724" r:id="rId39"/>
    <p:sldId id="1637" r:id="rId40"/>
    <p:sldId id="1767" r:id="rId41"/>
    <p:sldId id="1768" r:id="rId42"/>
    <p:sldId id="1746" r:id="rId43"/>
    <p:sldId id="1747" r:id="rId44"/>
    <p:sldId id="1748" r:id="rId45"/>
    <p:sldId id="1750" r:id="rId46"/>
    <p:sldId id="1751" r:id="rId47"/>
    <p:sldId id="1753" r:id="rId48"/>
    <p:sldId id="1752" r:id="rId49"/>
    <p:sldId id="1754" r:id="rId50"/>
    <p:sldId id="1755" r:id="rId51"/>
    <p:sldId id="1756" r:id="rId52"/>
    <p:sldId id="1757" r:id="rId53"/>
    <p:sldId id="1758" r:id="rId54"/>
    <p:sldId id="1759" r:id="rId55"/>
    <p:sldId id="1760" r:id="rId56"/>
    <p:sldId id="1761" r:id="rId57"/>
    <p:sldId id="1778" r:id="rId58"/>
    <p:sldId id="1779" r:id="rId59"/>
    <p:sldId id="1728" r:id="rId60"/>
    <p:sldId id="1762" r:id="rId61"/>
    <p:sldId id="1763" r:id="rId62"/>
    <p:sldId id="1764" r:id="rId63"/>
    <p:sldId id="1765" r:id="rId64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5983"/>
    <a:srgbClr val="D31145"/>
    <a:srgbClr val="E7F6EA"/>
    <a:srgbClr val="92D050"/>
    <a:srgbClr val="00CD61"/>
    <a:srgbClr val="F7E7E9"/>
    <a:srgbClr val="F26289"/>
    <a:srgbClr val="FF66FF"/>
    <a:srgbClr val="FF33CC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68" autoAdjust="0"/>
    <p:restoredTop sz="93721" autoAdjust="0"/>
  </p:normalViewPr>
  <p:slideViewPr>
    <p:cSldViewPr snapToGrid="0">
      <p:cViewPr varScale="1">
        <p:scale>
          <a:sx n="81" d="100"/>
          <a:sy n="81" d="100"/>
        </p:scale>
        <p:origin x="1206" y="96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5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63" Type="http://schemas.openxmlformats.org/officeDocument/2006/relationships/slide" Target="slides/slide50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61" Type="http://schemas.openxmlformats.org/officeDocument/2006/relationships/slide" Target="slides/slide4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slide" Target="slides/slide5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viewProps" Target="viewProp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slide" Target="slides/slide4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package" Target="../embeddings/List_aplikace_Microsoft_Excel23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List_aplikace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51231934911546E-2"/>
          <c:y val="0.13807894736842105"/>
          <c:w val="0.91692139603581668"/>
          <c:h val="0.65774488304093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187</c:f>
              <c:numCache>
                <c:formatCode>m/d/yyyy</c:formatCode>
                <c:ptCount val="9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</c:numCache>
            </c:numRef>
          </c:cat>
          <c:val>
            <c:numRef>
              <c:f>Sheet1!$B$93:$B$187</c:f>
              <c:numCache>
                <c:formatCode>General</c:formatCode>
                <c:ptCount val="95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6</c:v>
                </c:pt>
                <c:pt idx="16">
                  <c:v>7614</c:v>
                </c:pt>
                <c:pt idx="17">
                  <c:v>8836</c:v>
                </c:pt>
                <c:pt idx="18">
                  <c:v>5325</c:v>
                </c:pt>
                <c:pt idx="19">
                  <c:v>3401</c:v>
                </c:pt>
                <c:pt idx="20">
                  <c:v>7949</c:v>
                </c:pt>
                <c:pt idx="21">
                  <c:v>10910</c:v>
                </c:pt>
                <c:pt idx="22">
                  <c:v>14135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0</c:v>
                </c:pt>
                <c:pt idx="27">
                  <c:v>10935</c:v>
                </c:pt>
                <c:pt idx="28">
                  <c:v>16465</c:v>
                </c:pt>
                <c:pt idx="29">
                  <c:v>17059</c:v>
                </c:pt>
                <c:pt idx="30">
                  <c:v>13306</c:v>
                </c:pt>
                <c:pt idx="31">
                  <c:v>3446</c:v>
                </c:pt>
                <c:pt idx="32">
                  <c:v>4984</c:v>
                </c:pt>
                <c:pt idx="33">
                  <c:v>6267</c:v>
                </c:pt>
                <c:pt idx="34">
                  <c:v>12951</c:v>
                </c:pt>
                <c:pt idx="35">
                  <c:v>17396</c:v>
                </c:pt>
                <c:pt idx="36">
                  <c:v>17766</c:v>
                </c:pt>
                <c:pt idx="37">
                  <c:v>14880</c:v>
                </c:pt>
                <c:pt idx="38">
                  <c:v>13099</c:v>
                </c:pt>
                <c:pt idx="39">
                  <c:v>8436</c:v>
                </c:pt>
                <c:pt idx="40">
                  <c:v>4311</c:v>
                </c:pt>
                <c:pt idx="41">
                  <c:v>9382</c:v>
                </c:pt>
                <c:pt idx="42">
                  <c:v>10804</c:v>
                </c:pt>
                <c:pt idx="43">
                  <c:v>10913</c:v>
                </c:pt>
                <c:pt idx="44">
                  <c:v>8086</c:v>
                </c:pt>
                <c:pt idx="45">
                  <c:v>9298</c:v>
                </c:pt>
                <c:pt idx="46">
                  <c:v>5239</c:v>
                </c:pt>
                <c:pt idx="47">
                  <c:v>2641</c:v>
                </c:pt>
                <c:pt idx="48">
                  <c:v>7667</c:v>
                </c:pt>
                <c:pt idx="49">
                  <c:v>9607</c:v>
                </c:pt>
                <c:pt idx="50">
                  <c:v>8214</c:v>
                </c:pt>
                <c:pt idx="51">
                  <c:v>7531</c:v>
                </c:pt>
                <c:pt idx="52">
                  <c:v>8464</c:v>
                </c:pt>
                <c:pt idx="53">
                  <c:v>4239</c:v>
                </c:pt>
                <c:pt idx="54">
                  <c:v>2394</c:v>
                </c:pt>
                <c:pt idx="55">
                  <c:v>6972</c:v>
                </c:pt>
                <c:pt idx="56">
                  <c:v>9194</c:v>
                </c:pt>
                <c:pt idx="57">
                  <c:v>8502</c:v>
                </c:pt>
                <c:pt idx="58">
                  <c:v>8007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4</c:v>
                </c:pt>
                <c:pt idx="63">
                  <c:v>9148</c:v>
                </c:pt>
                <c:pt idx="64">
                  <c:v>9666</c:v>
                </c:pt>
                <c:pt idx="65">
                  <c:v>8106</c:v>
                </c:pt>
                <c:pt idx="66">
                  <c:v>8620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1</c:v>
                </c:pt>
                <c:pt idx="71">
                  <c:v>9536</c:v>
                </c:pt>
                <c:pt idx="72">
                  <c:v>9016</c:v>
                </c:pt>
                <c:pt idx="73">
                  <c:v>8827</c:v>
                </c:pt>
                <c:pt idx="74">
                  <c:v>5141</c:v>
                </c:pt>
                <c:pt idx="75">
                  <c:v>2880</c:v>
                </c:pt>
                <c:pt idx="76">
                  <c:v>8904</c:v>
                </c:pt>
                <c:pt idx="77">
                  <c:v>12603</c:v>
                </c:pt>
                <c:pt idx="78">
                  <c:v>10937</c:v>
                </c:pt>
                <c:pt idx="79">
                  <c:v>11700</c:v>
                </c:pt>
                <c:pt idx="80">
                  <c:v>11285</c:v>
                </c:pt>
                <c:pt idx="81">
                  <c:v>6774</c:v>
                </c:pt>
                <c:pt idx="82">
                  <c:v>4063</c:v>
                </c:pt>
                <c:pt idx="83">
                  <c:v>11402</c:v>
                </c:pt>
                <c:pt idx="84">
                  <c:v>15837</c:v>
                </c:pt>
                <c:pt idx="85">
                  <c:v>13789</c:v>
                </c:pt>
                <c:pt idx="86">
                  <c:v>14582</c:v>
                </c:pt>
                <c:pt idx="87">
                  <c:v>14765</c:v>
                </c:pt>
                <c:pt idx="88">
                  <c:v>7819</c:v>
                </c:pt>
                <c:pt idx="89">
                  <c:v>4583</c:v>
                </c:pt>
                <c:pt idx="90">
                  <c:v>12314</c:v>
                </c:pt>
                <c:pt idx="91">
                  <c:v>16769</c:v>
                </c:pt>
                <c:pt idx="92">
                  <c:v>15223</c:v>
                </c:pt>
                <c:pt idx="93">
                  <c:v>14554</c:v>
                </c:pt>
                <c:pt idx="94">
                  <c:v>13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D6-40BF-820C-488D15CC7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4901576"/>
        <c:axId val="524901968"/>
      </c:barChart>
      <c:dateAx>
        <c:axId val="524901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968"/>
        <c:crosses val="autoZero"/>
        <c:auto val="1"/>
        <c:lblOffset val="100"/>
        <c:baseTimeUnit val="days"/>
        <c:majorUnit val="2"/>
        <c:majorTimeUnit val="days"/>
      </c:dateAx>
      <c:valAx>
        <c:axId val="524901968"/>
        <c:scaling>
          <c:orientation val="minMax"/>
          <c:max val="2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576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2430.9246159088248</c:v>
                </c:pt>
                <c:pt idx="1">
                  <c:v>2164.1598566502862</c:v>
                </c:pt>
                <c:pt idx="2">
                  <c:v>2146.3000795798762</c:v>
                </c:pt>
                <c:pt idx="3">
                  <c:v>1982.3518832438554</c:v>
                </c:pt>
                <c:pt idx="4">
                  <c:v>1976.3799048885485</c:v>
                </c:pt>
                <c:pt idx="5">
                  <c:v>1929.262075124482</c:v>
                </c:pt>
                <c:pt idx="6">
                  <c:v>1563.6476585481719</c:v>
                </c:pt>
                <c:pt idx="7">
                  <c:v>1505.6517631885172</c:v>
                </c:pt>
                <c:pt idx="8">
                  <c:v>1289.8958674580761</c:v>
                </c:pt>
                <c:pt idx="9">
                  <c:v>1101.4363387581595</c:v>
                </c:pt>
                <c:pt idx="10">
                  <c:v>1079.4153934874159</c:v>
                </c:pt>
                <c:pt idx="11">
                  <c:v>1077.5060718495604</c:v>
                </c:pt>
                <c:pt idx="12">
                  <c:v>932.66441156847054</c:v>
                </c:pt>
                <c:pt idx="13">
                  <c:v>764.7346602466719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30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81-45FE-8824-AD9CB6C393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D73-42AF-BF4C-1FCF5EC28AE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3-42AF-BF4C-1FCF5EC28AE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D73-42AF-BF4C-1FCF5EC28AE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D73-42AF-BF4C-1FCF5EC28AE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253-4FD9-845E-069EA6468AD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253-4FD9-845E-069EA6468AD0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6E1-4504-87AF-F40AD3F6B4C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663.41430476544156</c:v>
                </c:pt>
                <c:pt idx="1">
                  <c:v>523.32095975561674</c:v>
                </c:pt>
                <c:pt idx="2">
                  <c:v>452.77767186487188</c:v>
                </c:pt>
                <c:pt idx="3">
                  <c:v>435.07588532883631</c:v>
                </c:pt>
                <c:pt idx="4">
                  <c:v>349.93547569848545</c:v>
                </c:pt>
                <c:pt idx="5">
                  <c:v>286.84260215252482</c:v>
                </c:pt>
                <c:pt idx="6">
                  <c:v>281.0822434356545</c:v>
                </c:pt>
                <c:pt idx="7">
                  <c:v>264.07173465143489</c:v>
                </c:pt>
                <c:pt idx="8">
                  <c:v>242.64341580950997</c:v>
                </c:pt>
                <c:pt idx="9">
                  <c:v>236.5037698029974</c:v>
                </c:pt>
                <c:pt idx="10">
                  <c:v>211.63040371975183</c:v>
                </c:pt>
                <c:pt idx="11">
                  <c:v>205.06835611870622</c:v>
                </c:pt>
                <c:pt idx="12">
                  <c:v>115.90794557366007</c:v>
                </c:pt>
                <c:pt idx="13">
                  <c:v>-31.3503529032968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0-8C81-45FE-8824-AD9CB6C3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1000"/>
          <c:min val="-20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34-42CC-BA1D-999B4C9D790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A65-49CB-8D83-5382A8C8812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A65-49CB-8D83-5382A8C881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A65-49CB-8D83-5382A8C8812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029-49B2-AB23-8CE7F8B21B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3029-49B2-AB23-8CE7F8B21BB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353-4E8F-8DC1-33CE97D24E04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15A-405B-A3D4-C6895EB6976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387.4136970576817</c:v>
                </c:pt>
                <c:pt idx="1">
                  <c:v>369.87071388420463</c:v>
                </c:pt>
                <c:pt idx="2">
                  <c:v>319.25082473129726</c:v>
                </c:pt>
                <c:pt idx="3">
                  <c:v>298.35665535516819</c:v>
                </c:pt>
                <c:pt idx="4">
                  <c:v>250.97182306882326</c:v>
                </c:pt>
                <c:pt idx="5">
                  <c:v>222.7154387878137</c:v>
                </c:pt>
                <c:pt idx="6">
                  <c:v>205.06669504067474</c:v>
                </c:pt>
                <c:pt idx="7">
                  <c:v>193.63884346991176</c:v>
                </c:pt>
                <c:pt idx="8">
                  <c:v>159.21973991330441</c:v>
                </c:pt>
                <c:pt idx="9">
                  <c:v>159.10898965791569</c:v>
                </c:pt>
                <c:pt idx="10">
                  <c:v>154.98689386785452</c:v>
                </c:pt>
                <c:pt idx="11">
                  <c:v>141.31519578654274</c:v>
                </c:pt>
                <c:pt idx="12">
                  <c:v>23.724591386278689</c:v>
                </c:pt>
                <c:pt idx="13">
                  <c:v>-36.95615655971778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800"/>
          <c:min val="-8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2086.3430203258858</c:v>
                </c:pt>
                <c:pt idx="1">
                  <c:v>1705.8019210317527</c:v>
                </c:pt>
                <c:pt idx="2">
                  <c:v>1508.2061666991467</c:v>
                </c:pt>
                <c:pt idx="3">
                  <c:v>1446.9821176650016</c:v>
                </c:pt>
                <c:pt idx="4">
                  <c:v>1380.5508712759977</c:v>
                </c:pt>
                <c:pt idx="5">
                  <c:v>1250.1088600178925</c:v>
                </c:pt>
                <c:pt idx="6">
                  <c:v>1184.3579615521851</c:v>
                </c:pt>
                <c:pt idx="7">
                  <c:v>1033.2761522917278</c:v>
                </c:pt>
                <c:pt idx="8">
                  <c:v>942.31670135395632</c:v>
                </c:pt>
                <c:pt idx="9">
                  <c:v>798.01897834224849</c:v>
                </c:pt>
                <c:pt idx="10">
                  <c:v>797.377926648006</c:v>
                </c:pt>
                <c:pt idx="11">
                  <c:v>756.92626147940462</c:v>
                </c:pt>
                <c:pt idx="12">
                  <c:v>730.47795566812317</c:v>
                </c:pt>
                <c:pt idx="13">
                  <c:v>557.685895298432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25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7DC-49FD-A499-23108C1115C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7DC-49FD-A499-23108C1115C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9BA6-40EF-A2FB-0F19735EE7B5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5E-4AF0-8255-A4C2A217585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F5E-4AF0-8255-A4C2A217585D}"/>
              </c:ext>
            </c:extLst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5E-4AF0-8255-A4C2A217585D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F5E-4AF0-8255-A4C2A217585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411.33652065296974</c:v>
                </c:pt>
                <c:pt idx="1">
                  <c:v>393.70078740157487</c:v>
                </c:pt>
                <c:pt idx="2">
                  <c:v>384.59512143722679</c:v>
                </c:pt>
                <c:pt idx="3">
                  <c:v>260.84821702571685</c:v>
                </c:pt>
                <c:pt idx="4">
                  <c:v>211.54853527823673</c:v>
                </c:pt>
                <c:pt idx="5">
                  <c:v>200.20964360587004</c:v>
                </c:pt>
                <c:pt idx="6">
                  <c:v>192.83228294610103</c:v>
                </c:pt>
                <c:pt idx="7">
                  <c:v>160.49723474509562</c:v>
                </c:pt>
                <c:pt idx="8">
                  <c:v>143.43819385770144</c:v>
                </c:pt>
                <c:pt idx="9">
                  <c:v>140.39001500057702</c:v>
                </c:pt>
                <c:pt idx="10">
                  <c:v>138.37188906862082</c:v>
                </c:pt>
                <c:pt idx="11">
                  <c:v>101.95179887117297</c:v>
                </c:pt>
                <c:pt idx="12">
                  <c:v>-31.972716615154923</c:v>
                </c:pt>
                <c:pt idx="13">
                  <c:v>-116.279069767441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1000"/>
          <c:min val="-10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81-45FE-8824-AD9CB6C393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7B2-43CE-A126-8245EB9212D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B2-43CE-A126-8245EB9212D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0074-440A-A1B1-D5E19808E4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074-440A-A1B1-D5E19808E4F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0074-440A-A1B1-D5E19808E4F0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B27F-44C2-9265-81B17C214D99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6A-4FA5-81C1-B3EC2047666B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56A-4FA5-81C1-B3EC2047666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730.06848430029709</c:v>
                </c:pt>
                <c:pt idx="1">
                  <c:v>612.89359534973573</c:v>
                </c:pt>
                <c:pt idx="2">
                  <c:v>491.52946790742044</c:v>
                </c:pt>
                <c:pt idx="3">
                  <c:v>309.94905787761627</c:v>
                </c:pt>
                <c:pt idx="4">
                  <c:v>291.40461215932908</c:v>
                </c:pt>
                <c:pt idx="5">
                  <c:v>267.96147801909984</c:v>
                </c:pt>
                <c:pt idx="6">
                  <c:v>246.36836671062451</c:v>
                </c:pt>
                <c:pt idx="7">
                  <c:v>225.75486783933775</c:v>
                </c:pt>
                <c:pt idx="8">
                  <c:v>216.13974416913925</c:v>
                </c:pt>
                <c:pt idx="9">
                  <c:v>193.39310301335888</c:v>
                </c:pt>
                <c:pt idx="10">
                  <c:v>157.86088752898979</c:v>
                </c:pt>
                <c:pt idx="11">
                  <c:v>157.69837301434677</c:v>
                </c:pt>
                <c:pt idx="12">
                  <c:v>35.778175313059364</c:v>
                </c:pt>
                <c:pt idx="13">
                  <c:v>-112.9702653735478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0-8C81-45FE-8824-AD9CB6C3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2000"/>
          <c:min val="-30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2236.1359570661898</c:v>
                </c:pt>
                <c:pt idx="1">
                  <c:v>1845.6303570659429</c:v>
                </c:pt>
                <c:pt idx="2">
                  <c:v>1581.9613457408732</c:v>
                </c:pt>
                <c:pt idx="3">
                  <c:v>1519.769796440371</c:v>
                </c:pt>
                <c:pt idx="4">
                  <c:v>1402.4427668323822</c:v>
                </c:pt>
                <c:pt idx="5">
                  <c:v>1285.4960223381277</c:v>
                </c:pt>
                <c:pt idx="6">
                  <c:v>1252.6205450733753</c:v>
                </c:pt>
                <c:pt idx="7">
                  <c:v>995.8878213248621</c:v>
                </c:pt>
                <c:pt idx="8">
                  <c:v>956.90959463973434</c:v>
                </c:pt>
                <c:pt idx="9">
                  <c:v>841.33263818607452</c:v>
                </c:pt>
                <c:pt idx="10">
                  <c:v>794.84526385100173</c:v>
                </c:pt>
                <c:pt idx="11">
                  <c:v>772.52136258053667</c:v>
                </c:pt>
                <c:pt idx="12">
                  <c:v>732.72048924958654</c:v>
                </c:pt>
                <c:pt idx="13">
                  <c:v>646.734093564895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25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6. vs. 5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813-493D-97B1-A5AA545BC174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813-493D-97B1-A5AA545BC174}"/>
              </c:ext>
            </c:extLst>
          </c:dPt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Kypr</c:v>
                </c:pt>
                <c:pt idx="2">
                  <c:v>Estonsko</c:v>
                </c:pt>
                <c:pt idx="3">
                  <c:v>Malta</c:v>
                </c:pt>
                <c:pt idx="4">
                  <c:v>Maďarsko</c:v>
                </c:pt>
                <c:pt idx="5">
                  <c:v>Polsko</c:v>
                </c:pt>
                <c:pt idx="6">
                  <c:v>Bulharsko</c:v>
                </c:pt>
                <c:pt idx="7">
                  <c:v>Řecko</c:v>
                </c:pt>
                <c:pt idx="8">
                  <c:v>Chorvatsko</c:v>
                </c:pt>
                <c:pt idx="9">
                  <c:v>Itálie</c:v>
                </c:pt>
                <c:pt idx="10">
                  <c:v>Rumunsko</c:v>
                </c:pt>
                <c:pt idx="11">
                  <c:v>Česká republika</c:v>
                </c:pt>
                <c:pt idx="12">
                  <c:v>Norsko</c:v>
                </c:pt>
                <c:pt idx="13">
                  <c:v>Rakousko</c:v>
                </c:pt>
                <c:pt idx="14">
                  <c:v>Dánsko</c:v>
                </c:pt>
                <c:pt idx="15">
                  <c:v>Švédsko</c:v>
                </c:pt>
                <c:pt idx="16">
                  <c:v>Slovensko</c:v>
                </c:pt>
                <c:pt idx="17">
                  <c:v>Nizozemsko</c:v>
                </c:pt>
                <c:pt idx="18">
                  <c:v>Německo</c:v>
                </c:pt>
                <c:pt idx="19">
                  <c:v>Francie</c:v>
                </c:pt>
                <c:pt idx="20">
                  <c:v>Belgie</c:v>
                </c:pt>
                <c:pt idx="21">
                  <c:v>Slovinsko</c:v>
                </c:pt>
                <c:pt idx="22">
                  <c:v>Finsko</c:v>
                </c:pt>
                <c:pt idx="23">
                  <c:v>Lucembursko</c:v>
                </c:pt>
                <c:pt idx="24">
                  <c:v>Lotyšsko</c:v>
                </c:pt>
                <c:pt idx="25">
                  <c:v>Litva</c:v>
                </c:pt>
                <c:pt idx="26">
                  <c:v>Irsko</c:v>
                </c:pt>
                <c:pt idx="27">
                  <c:v>Velká Británie</c:v>
                </c:pt>
                <c:pt idx="28">
                  <c:v>Španělsko</c:v>
                </c:pt>
                <c:pt idx="29">
                  <c:v>Portugal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0.48275862068965519</c:v>
                </c:pt>
                <c:pt idx="1">
                  <c:v>0.85390713476783697</c:v>
                </c:pt>
                <c:pt idx="2">
                  <c:v>1.123429416112343</c:v>
                </c:pt>
                <c:pt idx="3">
                  <c:v>1.440203562340967</c:v>
                </c:pt>
                <c:pt idx="4">
                  <c:v>1.2458356623812186</c:v>
                </c:pt>
                <c:pt idx="5">
                  <c:v>0.98753212386453271</c:v>
                </c:pt>
                <c:pt idx="6">
                  <c:v>1.1923385479342159</c:v>
                </c:pt>
                <c:pt idx="7">
                  <c:v>1.1706968092717127</c:v>
                </c:pt>
                <c:pt idx="8">
                  <c:v>0.76261429055198104</c:v>
                </c:pt>
                <c:pt idx="9">
                  <c:v>1.0171433350058539</c:v>
                </c:pt>
                <c:pt idx="10">
                  <c:v>1.0045835594958084</c:v>
                </c:pt>
                <c:pt idx="11">
                  <c:v>1.0674774342998643</c:v>
                </c:pt>
                <c:pt idx="12">
                  <c:v>0.95736434108527135</c:v>
                </c:pt>
                <c:pt idx="13">
                  <c:v>0.80653482373172825</c:v>
                </c:pt>
                <c:pt idx="14">
                  <c:v>1.1942878617061254</c:v>
                </c:pt>
                <c:pt idx="15">
                  <c:v>1.0854273918140578</c:v>
                </c:pt>
                <c:pt idx="16">
                  <c:v>1.0000705716302047</c:v>
                </c:pt>
                <c:pt idx="17">
                  <c:v>0.91621621621621618</c:v>
                </c:pt>
                <c:pt idx="18">
                  <c:v>0.75768317961967135</c:v>
                </c:pt>
                <c:pt idx="19">
                  <c:v>0.91553875398402107</c:v>
                </c:pt>
                <c:pt idx="20">
                  <c:v>0.84022815183898247</c:v>
                </c:pt>
                <c:pt idx="21">
                  <c:v>0.72831141224923612</c:v>
                </c:pt>
                <c:pt idx="22">
                  <c:v>0.94491355046240455</c:v>
                </c:pt>
                <c:pt idx="23">
                  <c:v>0.8787107718405428</c:v>
                </c:pt>
                <c:pt idx="24">
                  <c:v>0.88253282964561974</c:v>
                </c:pt>
                <c:pt idx="25">
                  <c:v>0.94018330921369997</c:v>
                </c:pt>
                <c:pt idx="26">
                  <c:v>0.85657313772966814</c:v>
                </c:pt>
                <c:pt idx="27">
                  <c:v>0.54901548300235614</c:v>
                </c:pt>
                <c:pt idx="28">
                  <c:v>0.58456218426750062</c:v>
                </c:pt>
                <c:pt idx="29">
                  <c:v>0.46011827491706331</c:v>
                </c:pt>
                <c:pt idx="30">
                  <c:v>1.1818181818181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8. vs. 7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Kypr</c:v>
                </c:pt>
                <c:pt idx="2">
                  <c:v>Estonsko</c:v>
                </c:pt>
                <c:pt idx="3">
                  <c:v>Malta</c:v>
                </c:pt>
                <c:pt idx="4">
                  <c:v>Maďarsko</c:v>
                </c:pt>
                <c:pt idx="5">
                  <c:v>Polsko</c:v>
                </c:pt>
                <c:pt idx="6">
                  <c:v>Bulharsko</c:v>
                </c:pt>
                <c:pt idx="7">
                  <c:v>Řecko</c:v>
                </c:pt>
                <c:pt idx="8">
                  <c:v>Chorvatsko</c:v>
                </c:pt>
                <c:pt idx="9">
                  <c:v>Itálie</c:v>
                </c:pt>
                <c:pt idx="10">
                  <c:v>Rumunsko</c:v>
                </c:pt>
                <c:pt idx="11">
                  <c:v>Česká republika</c:v>
                </c:pt>
                <c:pt idx="12">
                  <c:v>Norsko</c:v>
                </c:pt>
                <c:pt idx="13">
                  <c:v>Rakousko</c:v>
                </c:pt>
                <c:pt idx="14">
                  <c:v>Dánsko</c:v>
                </c:pt>
                <c:pt idx="15">
                  <c:v>Švédsko</c:v>
                </c:pt>
                <c:pt idx="16">
                  <c:v>Slovensko</c:v>
                </c:pt>
                <c:pt idx="17">
                  <c:v>Nizozemsko</c:v>
                </c:pt>
                <c:pt idx="18">
                  <c:v>Německo</c:v>
                </c:pt>
                <c:pt idx="19">
                  <c:v>Francie</c:v>
                </c:pt>
                <c:pt idx="20">
                  <c:v>Belgie</c:v>
                </c:pt>
                <c:pt idx="21">
                  <c:v>Slovinsko</c:v>
                </c:pt>
                <c:pt idx="22">
                  <c:v>Finsko</c:v>
                </c:pt>
                <c:pt idx="23">
                  <c:v>Lucembursko</c:v>
                </c:pt>
                <c:pt idx="24">
                  <c:v>Lotyšsko</c:v>
                </c:pt>
                <c:pt idx="25">
                  <c:v>Litva</c:v>
                </c:pt>
                <c:pt idx="26">
                  <c:v>Irsko</c:v>
                </c:pt>
                <c:pt idx="27">
                  <c:v>Velká Británie</c:v>
                </c:pt>
                <c:pt idx="28">
                  <c:v>Španělsko</c:v>
                </c:pt>
                <c:pt idx="29">
                  <c:v>Portugalsko</c:v>
                </c:pt>
                <c:pt idx="30">
                  <c:v>Island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.5</c:v>
                </c:pt>
                <c:pt idx="1">
                  <c:v>1.9370816599732263</c:v>
                </c:pt>
                <c:pt idx="2">
                  <c:v>1.8818124869492587</c:v>
                </c:pt>
                <c:pt idx="3">
                  <c:v>1.8637803590285111</c:v>
                </c:pt>
                <c:pt idx="4">
                  <c:v>1.6192200391761145</c:v>
                </c:pt>
                <c:pt idx="5">
                  <c:v>1.5444256399407659</c:v>
                </c:pt>
                <c:pt idx="6">
                  <c:v>1.4844711607270646</c:v>
                </c:pt>
                <c:pt idx="7">
                  <c:v>1.472243940578577</c:v>
                </c:pt>
                <c:pt idx="8">
                  <c:v>1.3294066317626527</c:v>
                </c:pt>
                <c:pt idx="9">
                  <c:v>1.3279499124383349</c:v>
                </c:pt>
                <c:pt idx="10">
                  <c:v>1.2620460216246188</c:v>
                </c:pt>
                <c:pt idx="11">
                  <c:v>1.2495627261761157</c:v>
                </c:pt>
                <c:pt idx="12">
                  <c:v>1.2172413793103449</c:v>
                </c:pt>
                <c:pt idx="13">
                  <c:v>1.212862930452397</c:v>
                </c:pt>
                <c:pt idx="14">
                  <c:v>1.1353779429987609</c:v>
                </c:pt>
                <c:pt idx="15">
                  <c:v>1.1309609444420936</c:v>
                </c:pt>
                <c:pt idx="16">
                  <c:v>1.1097124776447929</c:v>
                </c:pt>
                <c:pt idx="17">
                  <c:v>1.10315106256761</c:v>
                </c:pt>
                <c:pt idx="18">
                  <c:v>1.0808417242640689</c:v>
                </c:pt>
                <c:pt idx="19">
                  <c:v>1.0769115399448643</c:v>
                </c:pt>
                <c:pt idx="20">
                  <c:v>1.0692584963954685</c:v>
                </c:pt>
                <c:pt idx="21">
                  <c:v>1.0514664143803216</c:v>
                </c:pt>
                <c:pt idx="22">
                  <c:v>1.0312090217676371</c:v>
                </c:pt>
                <c:pt idx="23">
                  <c:v>1.0263157894736843</c:v>
                </c:pt>
                <c:pt idx="24">
                  <c:v>0.969665489299813</c:v>
                </c:pt>
                <c:pt idx="25">
                  <c:v>0.8863368669022379</c:v>
                </c:pt>
                <c:pt idx="26">
                  <c:v>0.82831050228310499</c:v>
                </c:pt>
                <c:pt idx="27">
                  <c:v>0.78837933127558735</c:v>
                </c:pt>
                <c:pt idx="28">
                  <c:v>0.74698973184605155</c:v>
                </c:pt>
                <c:pt idx="29">
                  <c:v>0.71001337664819419</c:v>
                </c:pt>
                <c:pt idx="30">
                  <c:v>0.3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4216416"/>
        <c:axId val="384212104"/>
      </c:barChart>
      <c:catAx>
        <c:axId val="384216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4212104"/>
        <c:crosses val="autoZero"/>
        <c:auto val="1"/>
        <c:lblAlgn val="ctr"/>
        <c:lblOffset val="100"/>
        <c:noMultiLvlLbl val="0"/>
      </c:catAx>
      <c:valAx>
        <c:axId val="3842121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4216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0:$A$204</c:f>
              <c:numCache>
                <c:formatCode>d/m/yyyy</c:formatCode>
                <c:ptCount val="9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 formatCode="m/d/yyyy">
                  <c:v>44254</c:v>
                </c:pt>
                <c:pt idx="89" formatCode="m/d/yyyy">
                  <c:v>44255</c:v>
                </c:pt>
                <c:pt idx="90" formatCode="m/d/yyyy">
                  <c:v>44256</c:v>
                </c:pt>
                <c:pt idx="91" formatCode="m/d/yyyy">
                  <c:v>44257</c:v>
                </c:pt>
                <c:pt idx="92" formatCode="m/d/yyyy">
                  <c:v>44258</c:v>
                </c:pt>
                <c:pt idx="93" formatCode="m/d/yyyy">
                  <c:v>44259</c:v>
                </c:pt>
                <c:pt idx="94" formatCode="m/d/yyyy">
                  <c:v>44260</c:v>
                </c:pt>
              </c:numCache>
            </c:numRef>
          </c:cat>
          <c:val>
            <c:numRef>
              <c:f>Sheet1!$B$110:$B$204</c:f>
              <c:numCache>
                <c:formatCode>General</c:formatCode>
                <c:ptCount val="95"/>
                <c:pt idx="0">
                  <c:v>913</c:v>
                </c:pt>
                <c:pt idx="1">
                  <c:v>887</c:v>
                </c:pt>
                <c:pt idx="2">
                  <c:v>828</c:v>
                </c:pt>
                <c:pt idx="3">
                  <c:v>883</c:v>
                </c:pt>
                <c:pt idx="4">
                  <c:v>644</c:v>
                </c:pt>
                <c:pt idx="5">
                  <c:v>225</c:v>
                </c:pt>
                <c:pt idx="6">
                  <c:v>835</c:v>
                </c:pt>
                <c:pt idx="7">
                  <c:v>1043</c:v>
                </c:pt>
                <c:pt idx="8">
                  <c:v>1125</c:v>
                </c:pt>
                <c:pt idx="9">
                  <c:v>1000</c:v>
                </c:pt>
                <c:pt idx="10">
                  <c:v>1017</c:v>
                </c:pt>
                <c:pt idx="11">
                  <c:v>610</c:v>
                </c:pt>
                <c:pt idx="12">
                  <c:v>354</c:v>
                </c:pt>
                <c:pt idx="13">
                  <c:v>984</c:v>
                </c:pt>
                <c:pt idx="14">
                  <c:v>1178</c:v>
                </c:pt>
                <c:pt idx="15">
                  <c:v>1318</c:v>
                </c:pt>
                <c:pt idx="16">
                  <c:v>1167</c:v>
                </c:pt>
                <c:pt idx="17">
                  <c:v>1360</c:v>
                </c:pt>
                <c:pt idx="18">
                  <c:v>766</c:v>
                </c:pt>
                <c:pt idx="19">
                  <c:v>535</c:v>
                </c:pt>
                <c:pt idx="20">
                  <c:v>1353</c:v>
                </c:pt>
                <c:pt idx="21">
                  <c:v>1692</c:v>
                </c:pt>
                <c:pt idx="22">
                  <c:v>2090</c:v>
                </c:pt>
                <c:pt idx="23">
                  <c:v>647</c:v>
                </c:pt>
                <c:pt idx="24">
                  <c:v>529</c:v>
                </c:pt>
                <c:pt idx="25">
                  <c:v>610</c:v>
                </c:pt>
                <c:pt idx="26">
                  <c:v>676</c:v>
                </c:pt>
                <c:pt idx="27">
                  <c:v>1827</c:v>
                </c:pt>
                <c:pt idx="28">
                  <c:v>2535</c:v>
                </c:pt>
                <c:pt idx="29">
                  <c:v>2832</c:v>
                </c:pt>
                <c:pt idx="30">
                  <c:v>2280</c:v>
                </c:pt>
                <c:pt idx="31">
                  <c:v>755</c:v>
                </c:pt>
                <c:pt idx="32">
                  <c:v>1084</c:v>
                </c:pt>
                <c:pt idx="33">
                  <c:v>1164</c:v>
                </c:pt>
                <c:pt idx="34">
                  <c:v>2412</c:v>
                </c:pt>
                <c:pt idx="35">
                  <c:v>3136</c:v>
                </c:pt>
                <c:pt idx="36">
                  <c:v>3164</c:v>
                </c:pt>
                <c:pt idx="37">
                  <c:v>2944</c:v>
                </c:pt>
                <c:pt idx="38">
                  <c:v>2665</c:v>
                </c:pt>
                <c:pt idx="39">
                  <c:v>1663</c:v>
                </c:pt>
                <c:pt idx="40">
                  <c:v>813</c:v>
                </c:pt>
                <c:pt idx="41">
                  <c:v>1860</c:v>
                </c:pt>
                <c:pt idx="42">
                  <c:v>2027</c:v>
                </c:pt>
                <c:pt idx="43">
                  <c:v>2008</c:v>
                </c:pt>
                <c:pt idx="44">
                  <c:v>1496</c:v>
                </c:pt>
                <c:pt idx="45">
                  <c:v>1772</c:v>
                </c:pt>
                <c:pt idx="46">
                  <c:v>920</c:v>
                </c:pt>
                <c:pt idx="47">
                  <c:v>507</c:v>
                </c:pt>
                <c:pt idx="48">
                  <c:v>1341</c:v>
                </c:pt>
                <c:pt idx="49">
                  <c:v>1594</c:v>
                </c:pt>
                <c:pt idx="50">
                  <c:v>1487</c:v>
                </c:pt>
                <c:pt idx="51">
                  <c:v>1326</c:v>
                </c:pt>
                <c:pt idx="52">
                  <c:v>1478</c:v>
                </c:pt>
                <c:pt idx="53">
                  <c:v>723</c:v>
                </c:pt>
                <c:pt idx="54">
                  <c:v>411</c:v>
                </c:pt>
                <c:pt idx="55">
                  <c:v>1239</c:v>
                </c:pt>
                <c:pt idx="56">
                  <c:v>1411</c:v>
                </c:pt>
                <c:pt idx="57">
                  <c:v>1444</c:v>
                </c:pt>
                <c:pt idx="58">
                  <c:v>1327</c:v>
                </c:pt>
                <c:pt idx="59">
                  <c:v>1333</c:v>
                </c:pt>
                <c:pt idx="60">
                  <c:v>665</c:v>
                </c:pt>
                <c:pt idx="61">
                  <c:v>449</c:v>
                </c:pt>
                <c:pt idx="62">
                  <c:v>1202</c:v>
                </c:pt>
                <c:pt idx="63">
                  <c:v>1438</c:v>
                </c:pt>
                <c:pt idx="64">
                  <c:v>1432</c:v>
                </c:pt>
                <c:pt idx="65">
                  <c:v>1328</c:v>
                </c:pt>
                <c:pt idx="66">
                  <c:v>1412</c:v>
                </c:pt>
                <c:pt idx="67">
                  <c:v>771</c:v>
                </c:pt>
                <c:pt idx="68">
                  <c:v>448</c:v>
                </c:pt>
                <c:pt idx="69">
                  <c:v>1122</c:v>
                </c:pt>
                <c:pt idx="70">
                  <c:v>1466</c:v>
                </c:pt>
                <c:pt idx="71">
                  <c:v>1383</c:v>
                </c:pt>
                <c:pt idx="72">
                  <c:v>1387</c:v>
                </c:pt>
                <c:pt idx="73">
                  <c:v>1328</c:v>
                </c:pt>
                <c:pt idx="74">
                  <c:v>728</c:v>
                </c:pt>
                <c:pt idx="75">
                  <c:v>458</c:v>
                </c:pt>
                <c:pt idx="76">
                  <c:v>1303</c:v>
                </c:pt>
                <c:pt idx="77">
                  <c:v>1762</c:v>
                </c:pt>
                <c:pt idx="78">
                  <c:v>1461</c:v>
                </c:pt>
                <c:pt idx="79">
                  <c:v>1600</c:v>
                </c:pt>
                <c:pt idx="80">
                  <c:v>1718</c:v>
                </c:pt>
                <c:pt idx="81">
                  <c:v>946</c:v>
                </c:pt>
                <c:pt idx="82">
                  <c:v>582</c:v>
                </c:pt>
                <c:pt idx="83">
                  <c:v>1634</c:v>
                </c:pt>
                <c:pt idx="84">
                  <c:v>2113</c:v>
                </c:pt>
                <c:pt idx="85">
                  <c:v>1927</c:v>
                </c:pt>
                <c:pt idx="86">
                  <c:v>2009</c:v>
                </c:pt>
                <c:pt idx="87">
                  <c:v>2101</c:v>
                </c:pt>
                <c:pt idx="88">
                  <c:v>1049</c:v>
                </c:pt>
                <c:pt idx="89">
                  <c:v>660</c:v>
                </c:pt>
                <c:pt idx="90">
                  <c:v>1854</c:v>
                </c:pt>
                <c:pt idx="91">
                  <c:v>2399</c:v>
                </c:pt>
                <c:pt idx="92">
                  <c:v>2171</c:v>
                </c:pt>
                <c:pt idx="93">
                  <c:v>2049</c:v>
                </c:pt>
                <c:pt idx="94">
                  <c:v>18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B-48BD-A47B-B933932AE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d/m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0:$A$204</c:f>
              <c:numCache>
                <c:formatCode>d/m/yyyy</c:formatCode>
                <c:ptCount val="9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 formatCode="m/d/yyyy">
                  <c:v>44254</c:v>
                </c:pt>
                <c:pt idx="89" formatCode="m/d/yyyy">
                  <c:v>44255</c:v>
                </c:pt>
                <c:pt idx="90" formatCode="m/d/yyyy">
                  <c:v>44256</c:v>
                </c:pt>
                <c:pt idx="91" formatCode="m/d/yyyy">
                  <c:v>44257</c:v>
                </c:pt>
                <c:pt idx="92" formatCode="m/d/yyyy">
                  <c:v>44258</c:v>
                </c:pt>
                <c:pt idx="93" formatCode="m/d/yyyy">
                  <c:v>44259</c:v>
                </c:pt>
                <c:pt idx="94" formatCode="m/d/yyyy">
                  <c:v>44260</c:v>
                </c:pt>
              </c:numCache>
            </c:numRef>
          </c:cat>
          <c:val>
            <c:numRef>
              <c:f>Sheet1!$B$110:$B$204</c:f>
              <c:numCache>
                <c:formatCode>General</c:formatCode>
                <c:ptCount val="95"/>
                <c:pt idx="0">
                  <c:v>457</c:v>
                </c:pt>
                <c:pt idx="1">
                  <c:v>462</c:v>
                </c:pt>
                <c:pt idx="2">
                  <c:v>443</c:v>
                </c:pt>
                <c:pt idx="3">
                  <c:v>444</c:v>
                </c:pt>
                <c:pt idx="4">
                  <c:v>333</c:v>
                </c:pt>
                <c:pt idx="5">
                  <c:v>119</c:v>
                </c:pt>
                <c:pt idx="6">
                  <c:v>460</c:v>
                </c:pt>
                <c:pt idx="7">
                  <c:v>528</c:v>
                </c:pt>
                <c:pt idx="8">
                  <c:v>559</c:v>
                </c:pt>
                <c:pt idx="9">
                  <c:v>477</c:v>
                </c:pt>
                <c:pt idx="10">
                  <c:v>506</c:v>
                </c:pt>
                <c:pt idx="11">
                  <c:v>281</c:v>
                </c:pt>
                <c:pt idx="12">
                  <c:v>203</c:v>
                </c:pt>
                <c:pt idx="13">
                  <c:v>509</c:v>
                </c:pt>
                <c:pt idx="14">
                  <c:v>537</c:v>
                </c:pt>
                <c:pt idx="15">
                  <c:v>624</c:v>
                </c:pt>
                <c:pt idx="16">
                  <c:v>517</c:v>
                </c:pt>
                <c:pt idx="17">
                  <c:v>565</c:v>
                </c:pt>
                <c:pt idx="18">
                  <c:v>317</c:v>
                </c:pt>
                <c:pt idx="19">
                  <c:v>233</c:v>
                </c:pt>
                <c:pt idx="20">
                  <c:v>613</c:v>
                </c:pt>
                <c:pt idx="21">
                  <c:v>642</c:v>
                </c:pt>
                <c:pt idx="22">
                  <c:v>870</c:v>
                </c:pt>
                <c:pt idx="23">
                  <c:v>280</c:v>
                </c:pt>
                <c:pt idx="24">
                  <c:v>276</c:v>
                </c:pt>
                <c:pt idx="25">
                  <c:v>312</c:v>
                </c:pt>
                <c:pt idx="26">
                  <c:v>341</c:v>
                </c:pt>
                <c:pt idx="27">
                  <c:v>818</c:v>
                </c:pt>
                <c:pt idx="28">
                  <c:v>947</c:v>
                </c:pt>
                <c:pt idx="29">
                  <c:v>1210</c:v>
                </c:pt>
                <c:pt idx="30">
                  <c:v>902</c:v>
                </c:pt>
                <c:pt idx="31">
                  <c:v>377</c:v>
                </c:pt>
                <c:pt idx="32">
                  <c:v>518</c:v>
                </c:pt>
                <c:pt idx="33">
                  <c:v>538</c:v>
                </c:pt>
                <c:pt idx="34">
                  <c:v>970</c:v>
                </c:pt>
                <c:pt idx="35">
                  <c:v>1316</c:v>
                </c:pt>
                <c:pt idx="36">
                  <c:v>1370</c:v>
                </c:pt>
                <c:pt idx="37">
                  <c:v>1341</c:v>
                </c:pt>
                <c:pt idx="38">
                  <c:v>1145</c:v>
                </c:pt>
                <c:pt idx="39">
                  <c:v>770</c:v>
                </c:pt>
                <c:pt idx="40">
                  <c:v>398</c:v>
                </c:pt>
                <c:pt idx="41">
                  <c:v>862</c:v>
                </c:pt>
                <c:pt idx="42">
                  <c:v>903</c:v>
                </c:pt>
                <c:pt idx="43">
                  <c:v>917</c:v>
                </c:pt>
                <c:pt idx="44">
                  <c:v>691</c:v>
                </c:pt>
                <c:pt idx="45">
                  <c:v>813</c:v>
                </c:pt>
                <c:pt idx="46">
                  <c:v>447</c:v>
                </c:pt>
                <c:pt idx="47">
                  <c:v>267</c:v>
                </c:pt>
                <c:pt idx="48">
                  <c:v>648</c:v>
                </c:pt>
                <c:pt idx="49">
                  <c:v>695</c:v>
                </c:pt>
                <c:pt idx="50">
                  <c:v>709</c:v>
                </c:pt>
                <c:pt idx="51">
                  <c:v>652</c:v>
                </c:pt>
                <c:pt idx="52">
                  <c:v>664</c:v>
                </c:pt>
                <c:pt idx="53">
                  <c:v>324</c:v>
                </c:pt>
                <c:pt idx="54">
                  <c:v>213</c:v>
                </c:pt>
                <c:pt idx="55">
                  <c:v>615</c:v>
                </c:pt>
                <c:pt idx="56">
                  <c:v>639</c:v>
                </c:pt>
                <c:pt idx="57">
                  <c:v>674</c:v>
                </c:pt>
                <c:pt idx="58">
                  <c:v>649</c:v>
                </c:pt>
                <c:pt idx="59">
                  <c:v>569</c:v>
                </c:pt>
                <c:pt idx="60">
                  <c:v>290</c:v>
                </c:pt>
                <c:pt idx="61">
                  <c:v>211</c:v>
                </c:pt>
                <c:pt idx="62">
                  <c:v>522</c:v>
                </c:pt>
                <c:pt idx="63">
                  <c:v>627</c:v>
                </c:pt>
                <c:pt idx="64">
                  <c:v>615</c:v>
                </c:pt>
                <c:pt idx="65">
                  <c:v>605</c:v>
                </c:pt>
                <c:pt idx="66">
                  <c:v>608</c:v>
                </c:pt>
                <c:pt idx="67">
                  <c:v>359</c:v>
                </c:pt>
                <c:pt idx="68">
                  <c:v>210</c:v>
                </c:pt>
                <c:pt idx="69">
                  <c:v>455</c:v>
                </c:pt>
                <c:pt idx="70">
                  <c:v>657</c:v>
                </c:pt>
                <c:pt idx="71">
                  <c:v>553</c:v>
                </c:pt>
                <c:pt idx="72">
                  <c:v>580</c:v>
                </c:pt>
                <c:pt idx="73">
                  <c:v>568</c:v>
                </c:pt>
                <c:pt idx="74">
                  <c:v>293</c:v>
                </c:pt>
                <c:pt idx="75">
                  <c:v>209</c:v>
                </c:pt>
                <c:pt idx="76">
                  <c:v>557</c:v>
                </c:pt>
                <c:pt idx="77">
                  <c:v>721</c:v>
                </c:pt>
                <c:pt idx="78">
                  <c:v>602</c:v>
                </c:pt>
                <c:pt idx="79">
                  <c:v>647</c:v>
                </c:pt>
                <c:pt idx="80">
                  <c:v>743</c:v>
                </c:pt>
                <c:pt idx="81">
                  <c:v>379</c:v>
                </c:pt>
                <c:pt idx="82">
                  <c:v>287</c:v>
                </c:pt>
                <c:pt idx="83">
                  <c:v>698</c:v>
                </c:pt>
                <c:pt idx="84">
                  <c:v>849</c:v>
                </c:pt>
                <c:pt idx="85">
                  <c:v>750</c:v>
                </c:pt>
                <c:pt idx="86">
                  <c:v>812</c:v>
                </c:pt>
                <c:pt idx="87">
                  <c:v>817</c:v>
                </c:pt>
                <c:pt idx="88">
                  <c:v>410</c:v>
                </c:pt>
                <c:pt idx="89">
                  <c:v>287</c:v>
                </c:pt>
                <c:pt idx="90">
                  <c:v>777</c:v>
                </c:pt>
                <c:pt idx="91">
                  <c:v>919</c:v>
                </c:pt>
                <c:pt idx="92">
                  <c:v>857</c:v>
                </c:pt>
                <c:pt idx="93">
                  <c:v>750</c:v>
                </c:pt>
                <c:pt idx="94">
                  <c:v>7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F-4927-9ED6-179F3A949F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d/m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2:$A$126</c:f>
              <c:numCache>
                <c:formatCode>m/d/yyyy</c:formatCode>
                <c:ptCount val="9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</c:numCache>
            </c:numRef>
          </c:cat>
          <c:val>
            <c:numRef>
              <c:f>Sheet1!$B$32:$B$126</c:f>
              <c:numCache>
                <c:formatCode>General</c:formatCode>
                <c:ptCount val="95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6</c:v>
                </c:pt>
                <c:pt idx="16">
                  <c:v>7614</c:v>
                </c:pt>
                <c:pt idx="17">
                  <c:v>8836</c:v>
                </c:pt>
                <c:pt idx="18">
                  <c:v>5325</c:v>
                </c:pt>
                <c:pt idx="19">
                  <c:v>3401</c:v>
                </c:pt>
                <c:pt idx="20">
                  <c:v>7949</c:v>
                </c:pt>
                <c:pt idx="21">
                  <c:v>10910</c:v>
                </c:pt>
                <c:pt idx="22">
                  <c:v>14135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0</c:v>
                </c:pt>
                <c:pt idx="27">
                  <c:v>10935</c:v>
                </c:pt>
                <c:pt idx="28">
                  <c:v>16465</c:v>
                </c:pt>
                <c:pt idx="29">
                  <c:v>17059</c:v>
                </c:pt>
                <c:pt idx="30">
                  <c:v>13306</c:v>
                </c:pt>
                <c:pt idx="31">
                  <c:v>3446</c:v>
                </c:pt>
                <c:pt idx="32">
                  <c:v>4983</c:v>
                </c:pt>
                <c:pt idx="33">
                  <c:v>6267</c:v>
                </c:pt>
                <c:pt idx="34">
                  <c:v>12951</c:v>
                </c:pt>
                <c:pt idx="35">
                  <c:v>17396</c:v>
                </c:pt>
                <c:pt idx="36">
                  <c:v>17766</c:v>
                </c:pt>
                <c:pt idx="37">
                  <c:v>14880</c:v>
                </c:pt>
                <c:pt idx="38">
                  <c:v>13099</c:v>
                </c:pt>
                <c:pt idx="39">
                  <c:v>8436</c:v>
                </c:pt>
                <c:pt idx="40">
                  <c:v>4311</c:v>
                </c:pt>
                <c:pt idx="41">
                  <c:v>9382</c:v>
                </c:pt>
                <c:pt idx="42">
                  <c:v>10804</c:v>
                </c:pt>
                <c:pt idx="43">
                  <c:v>10913</c:v>
                </c:pt>
                <c:pt idx="44">
                  <c:v>8086</c:v>
                </c:pt>
                <c:pt idx="45">
                  <c:v>9298</c:v>
                </c:pt>
                <c:pt idx="46">
                  <c:v>5239</c:v>
                </c:pt>
                <c:pt idx="47">
                  <c:v>2641</c:v>
                </c:pt>
                <c:pt idx="48">
                  <c:v>7667</c:v>
                </c:pt>
                <c:pt idx="49">
                  <c:v>9607</c:v>
                </c:pt>
                <c:pt idx="50">
                  <c:v>8214</c:v>
                </c:pt>
                <c:pt idx="51">
                  <c:v>7531</c:v>
                </c:pt>
                <c:pt idx="52">
                  <c:v>8464</c:v>
                </c:pt>
                <c:pt idx="53">
                  <c:v>4239</c:v>
                </c:pt>
                <c:pt idx="54">
                  <c:v>2394</c:v>
                </c:pt>
                <c:pt idx="55">
                  <c:v>6971</c:v>
                </c:pt>
                <c:pt idx="56">
                  <c:v>9193</c:v>
                </c:pt>
                <c:pt idx="57">
                  <c:v>8502</c:v>
                </c:pt>
                <c:pt idx="58">
                  <c:v>8007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4</c:v>
                </c:pt>
                <c:pt idx="63">
                  <c:v>9148</c:v>
                </c:pt>
                <c:pt idx="64">
                  <c:v>9666</c:v>
                </c:pt>
                <c:pt idx="65">
                  <c:v>8106</c:v>
                </c:pt>
                <c:pt idx="66">
                  <c:v>8620</c:v>
                </c:pt>
                <c:pt idx="67">
                  <c:v>4820</c:v>
                </c:pt>
                <c:pt idx="68">
                  <c:v>2451</c:v>
                </c:pt>
                <c:pt idx="69">
                  <c:v>7778</c:v>
                </c:pt>
                <c:pt idx="70">
                  <c:v>10281</c:v>
                </c:pt>
                <c:pt idx="71">
                  <c:v>9536</c:v>
                </c:pt>
                <c:pt idx="72">
                  <c:v>9016</c:v>
                </c:pt>
                <c:pt idx="73">
                  <c:v>8827</c:v>
                </c:pt>
                <c:pt idx="74">
                  <c:v>5141</c:v>
                </c:pt>
                <c:pt idx="75">
                  <c:v>2880</c:v>
                </c:pt>
                <c:pt idx="76">
                  <c:v>8904</c:v>
                </c:pt>
                <c:pt idx="77">
                  <c:v>12603</c:v>
                </c:pt>
                <c:pt idx="78">
                  <c:v>10937</c:v>
                </c:pt>
                <c:pt idx="79">
                  <c:v>11700</c:v>
                </c:pt>
                <c:pt idx="80">
                  <c:v>11285</c:v>
                </c:pt>
                <c:pt idx="81">
                  <c:v>6774</c:v>
                </c:pt>
                <c:pt idx="82">
                  <c:v>4063</c:v>
                </c:pt>
                <c:pt idx="83">
                  <c:v>11402</c:v>
                </c:pt>
                <c:pt idx="84">
                  <c:v>15836</c:v>
                </c:pt>
                <c:pt idx="85">
                  <c:v>13788</c:v>
                </c:pt>
                <c:pt idx="86">
                  <c:v>14582</c:v>
                </c:pt>
                <c:pt idx="87">
                  <c:v>14763</c:v>
                </c:pt>
                <c:pt idx="88">
                  <c:v>7819</c:v>
                </c:pt>
                <c:pt idx="89">
                  <c:v>4583</c:v>
                </c:pt>
                <c:pt idx="90">
                  <c:v>12310</c:v>
                </c:pt>
                <c:pt idx="91">
                  <c:v>16756</c:v>
                </c:pt>
                <c:pt idx="92">
                  <c:v>15088</c:v>
                </c:pt>
                <c:pt idx="93">
                  <c:v>14554</c:v>
                </c:pt>
                <c:pt idx="94" formatCode="#,##0">
                  <c:v>13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185</c:f>
              <c:numCache>
                <c:formatCode>m/d/yyyy</c:formatCode>
                <c:ptCount val="93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</c:numCache>
            </c:numRef>
          </c:cat>
          <c:val>
            <c:numRef>
              <c:f>Sheet1!$B$93:$B$185</c:f>
              <c:numCache>
                <c:formatCode>General</c:formatCode>
                <c:ptCount val="93"/>
                <c:pt idx="0">
                  <c:v>726</c:v>
                </c:pt>
                <c:pt idx="1">
                  <c:v>710</c:v>
                </c:pt>
                <c:pt idx="2">
                  <c:v>712</c:v>
                </c:pt>
                <c:pt idx="3">
                  <c:v>708</c:v>
                </c:pt>
                <c:pt idx="4">
                  <c:v>684</c:v>
                </c:pt>
                <c:pt idx="5">
                  <c:v>671</c:v>
                </c:pt>
                <c:pt idx="6">
                  <c:v>709</c:v>
                </c:pt>
                <c:pt idx="7">
                  <c:v>698</c:v>
                </c:pt>
                <c:pt idx="8">
                  <c:v>684</c:v>
                </c:pt>
                <c:pt idx="9">
                  <c:v>710</c:v>
                </c:pt>
                <c:pt idx="10">
                  <c:v>698</c:v>
                </c:pt>
                <c:pt idx="11">
                  <c:v>694</c:v>
                </c:pt>
                <c:pt idx="12">
                  <c:v>708</c:v>
                </c:pt>
                <c:pt idx="13">
                  <c:v>726</c:v>
                </c:pt>
                <c:pt idx="14">
                  <c:v>722</c:v>
                </c:pt>
                <c:pt idx="15">
                  <c:v>735</c:v>
                </c:pt>
                <c:pt idx="16">
                  <c:v>724</c:v>
                </c:pt>
                <c:pt idx="17">
                  <c:v>726</c:v>
                </c:pt>
                <c:pt idx="18">
                  <c:v>740</c:v>
                </c:pt>
                <c:pt idx="19">
                  <c:v>750</c:v>
                </c:pt>
                <c:pt idx="20">
                  <c:v>760</c:v>
                </c:pt>
                <c:pt idx="21">
                  <c:v>765</c:v>
                </c:pt>
                <c:pt idx="22">
                  <c:v>775</c:v>
                </c:pt>
                <c:pt idx="23">
                  <c:v>744</c:v>
                </c:pt>
                <c:pt idx="24">
                  <c:v>765</c:v>
                </c:pt>
                <c:pt idx="25">
                  <c:v>803</c:v>
                </c:pt>
                <c:pt idx="26">
                  <c:v>844</c:v>
                </c:pt>
                <c:pt idx="27">
                  <c:v>904</c:v>
                </c:pt>
                <c:pt idx="28">
                  <c:v>938</c:v>
                </c:pt>
                <c:pt idx="29">
                  <c:v>953</c:v>
                </c:pt>
                <c:pt idx="30">
                  <c:v>969</c:v>
                </c:pt>
                <c:pt idx="31">
                  <c:v>946</c:v>
                </c:pt>
                <c:pt idx="32">
                  <c:v>956</c:v>
                </c:pt>
                <c:pt idx="33">
                  <c:v>1002</c:v>
                </c:pt>
                <c:pt idx="34">
                  <c:v>1088</c:v>
                </c:pt>
                <c:pt idx="35">
                  <c:v>1109</c:v>
                </c:pt>
                <c:pt idx="36">
                  <c:v>1147</c:v>
                </c:pt>
                <c:pt idx="37">
                  <c:v>1146</c:v>
                </c:pt>
                <c:pt idx="38">
                  <c:v>1140</c:v>
                </c:pt>
                <c:pt idx="39">
                  <c:v>1145</c:v>
                </c:pt>
                <c:pt idx="40">
                  <c:v>1171</c:v>
                </c:pt>
                <c:pt idx="41">
                  <c:v>1184</c:v>
                </c:pt>
                <c:pt idx="42">
                  <c:v>1169</c:v>
                </c:pt>
                <c:pt idx="43">
                  <c:v>1167</c:v>
                </c:pt>
                <c:pt idx="44">
                  <c:v>1175</c:v>
                </c:pt>
                <c:pt idx="45">
                  <c:v>1166</c:v>
                </c:pt>
                <c:pt idx="46">
                  <c:v>1155</c:v>
                </c:pt>
                <c:pt idx="47">
                  <c:v>1127</c:v>
                </c:pt>
                <c:pt idx="48">
                  <c:v>1152</c:v>
                </c:pt>
                <c:pt idx="49">
                  <c:v>1133</c:v>
                </c:pt>
                <c:pt idx="50">
                  <c:v>1107</c:v>
                </c:pt>
                <c:pt idx="51">
                  <c:v>1100</c:v>
                </c:pt>
                <c:pt idx="52">
                  <c:v>1105</c:v>
                </c:pt>
                <c:pt idx="53">
                  <c:v>1087</c:v>
                </c:pt>
                <c:pt idx="54">
                  <c:v>1055</c:v>
                </c:pt>
                <c:pt idx="55">
                  <c:v>1077</c:v>
                </c:pt>
                <c:pt idx="56">
                  <c:v>1045</c:v>
                </c:pt>
                <c:pt idx="57">
                  <c:v>1037</c:v>
                </c:pt>
                <c:pt idx="58">
                  <c:v>1017</c:v>
                </c:pt>
                <c:pt idx="59">
                  <c:v>1017</c:v>
                </c:pt>
                <c:pt idx="60">
                  <c:v>1021</c:v>
                </c:pt>
                <c:pt idx="61">
                  <c:v>1039</c:v>
                </c:pt>
                <c:pt idx="62">
                  <c:v>1078</c:v>
                </c:pt>
                <c:pt idx="63">
                  <c:v>1087</c:v>
                </c:pt>
                <c:pt idx="64">
                  <c:v>1076</c:v>
                </c:pt>
                <c:pt idx="65">
                  <c:v>1104</c:v>
                </c:pt>
                <c:pt idx="66">
                  <c:v>1088</c:v>
                </c:pt>
                <c:pt idx="67">
                  <c:v>1072</c:v>
                </c:pt>
                <c:pt idx="68">
                  <c:v>1098</c:v>
                </c:pt>
                <c:pt idx="69">
                  <c:v>1107</c:v>
                </c:pt>
                <c:pt idx="70">
                  <c:v>1091</c:v>
                </c:pt>
                <c:pt idx="71">
                  <c:v>1104</c:v>
                </c:pt>
                <c:pt idx="72">
                  <c:v>1112</c:v>
                </c:pt>
                <c:pt idx="73">
                  <c:v>1108</c:v>
                </c:pt>
                <c:pt idx="74">
                  <c:v>1103</c:v>
                </c:pt>
                <c:pt idx="75">
                  <c:v>1143</c:v>
                </c:pt>
                <c:pt idx="76">
                  <c:v>1166</c:v>
                </c:pt>
                <c:pt idx="77">
                  <c:v>1210</c:v>
                </c:pt>
                <c:pt idx="78">
                  <c:v>1239</c:v>
                </c:pt>
                <c:pt idx="79">
                  <c:v>1266</c:v>
                </c:pt>
                <c:pt idx="80">
                  <c:v>1268</c:v>
                </c:pt>
                <c:pt idx="81">
                  <c:v>1269</c:v>
                </c:pt>
                <c:pt idx="82">
                  <c:v>1281</c:v>
                </c:pt>
                <c:pt idx="83">
                  <c:v>1365</c:v>
                </c:pt>
                <c:pt idx="84">
                  <c:v>1390</c:v>
                </c:pt>
                <c:pt idx="85">
                  <c:v>1405</c:v>
                </c:pt>
                <c:pt idx="86">
                  <c:v>1459</c:v>
                </c:pt>
                <c:pt idx="87">
                  <c:v>1436</c:v>
                </c:pt>
                <c:pt idx="88">
                  <c:v>1461</c:v>
                </c:pt>
                <c:pt idx="89">
                  <c:v>1498</c:v>
                </c:pt>
                <c:pt idx="90">
                  <c:v>1580</c:v>
                </c:pt>
                <c:pt idx="91">
                  <c:v>1589</c:v>
                </c:pt>
                <c:pt idx="92">
                  <c:v>16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E6-4F23-B575-8F8C4115F8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185</c:f>
              <c:numCache>
                <c:formatCode>m/d/yyyy</c:formatCode>
                <c:ptCount val="93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</c:numCache>
            </c:numRef>
          </c:cat>
          <c:val>
            <c:numRef>
              <c:f>Sheet1!$B$93:$B$185</c:f>
              <c:numCache>
                <c:formatCode>General</c:formatCode>
                <c:ptCount val="93"/>
                <c:pt idx="0">
                  <c:v>329</c:v>
                </c:pt>
                <c:pt idx="1">
                  <c:v>316</c:v>
                </c:pt>
                <c:pt idx="2">
                  <c:v>304</c:v>
                </c:pt>
                <c:pt idx="3">
                  <c:v>302</c:v>
                </c:pt>
                <c:pt idx="4">
                  <c:v>308</c:v>
                </c:pt>
                <c:pt idx="5">
                  <c:v>304</c:v>
                </c:pt>
                <c:pt idx="6">
                  <c:v>302</c:v>
                </c:pt>
                <c:pt idx="7">
                  <c:v>295</c:v>
                </c:pt>
                <c:pt idx="8">
                  <c:v>289</c:v>
                </c:pt>
                <c:pt idx="9">
                  <c:v>307</c:v>
                </c:pt>
                <c:pt idx="10">
                  <c:v>318</c:v>
                </c:pt>
                <c:pt idx="11">
                  <c:v>311</c:v>
                </c:pt>
                <c:pt idx="12">
                  <c:v>310</c:v>
                </c:pt>
                <c:pt idx="13">
                  <c:v>322</c:v>
                </c:pt>
                <c:pt idx="14">
                  <c:v>317</c:v>
                </c:pt>
                <c:pt idx="15">
                  <c:v>322</c:v>
                </c:pt>
                <c:pt idx="16">
                  <c:v>312</c:v>
                </c:pt>
                <c:pt idx="17">
                  <c:v>320</c:v>
                </c:pt>
                <c:pt idx="18">
                  <c:v>315</c:v>
                </c:pt>
                <c:pt idx="19">
                  <c:v>310</c:v>
                </c:pt>
                <c:pt idx="20">
                  <c:v>314</c:v>
                </c:pt>
                <c:pt idx="21">
                  <c:v>325</c:v>
                </c:pt>
                <c:pt idx="22">
                  <c:v>340</c:v>
                </c:pt>
                <c:pt idx="23">
                  <c:v>328</c:v>
                </c:pt>
                <c:pt idx="24">
                  <c:v>338</c:v>
                </c:pt>
                <c:pt idx="25">
                  <c:v>359</c:v>
                </c:pt>
                <c:pt idx="26">
                  <c:v>380</c:v>
                </c:pt>
                <c:pt idx="27">
                  <c:v>404</c:v>
                </c:pt>
                <c:pt idx="28">
                  <c:v>426</c:v>
                </c:pt>
                <c:pt idx="29">
                  <c:v>444</c:v>
                </c:pt>
                <c:pt idx="30">
                  <c:v>453</c:v>
                </c:pt>
                <c:pt idx="31">
                  <c:v>448</c:v>
                </c:pt>
                <c:pt idx="32">
                  <c:v>470</c:v>
                </c:pt>
                <c:pt idx="33">
                  <c:v>492</c:v>
                </c:pt>
                <c:pt idx="34">
                  <c:v>531</c:v>
                </c:pt>
                <c:pt idx="35">
                  <c:v>553</c:v>
                </c:pt>
                <c:pt idx="36">
                  <c:v>573</c:v>
                </c:pt>
                <c:pt idx="37">
                  <c:v>586</c:v>
                </c:pt>
                <c:pt idx="38">
                  <c:v>556</c:v>
                </c:pt>
                <c:pt idx="39">
                  <c:v>549</c:v>
                </c:pt>
                <c:pt idx="40">
                  <c:v>568</c:v>
                </c:pt>
                <c:pt idx="41">
                  <c:v>585</c:v>
                </c:pt>
                <c:pt idx="42">
                  <c:v>579</c:v>
                </c:pt>
                <c:pt idx="43">
                  <c:v>581</c:v>
                </c:pt>
                <c:pt idx="44">
                  <c:v>597</c:v>
                </c:pt>
                <c:pt idx="45">
                  <c:v>609</c:v>
                </c:pt>
                <c:pt idx="46">
                  <c:v>598</c:v>
                </c:pt>
                <c:pt idx="47">
                  <c:v>602</c:v>
                </c:pt>
                <c:pt idx="48">
                  <c:v>601</c:v>
                </c:pt>
                <c:pt idx="49">
                  <c:v>590</c:v>
                </c:pt>
                <c:pt idx="50">
                  <c:v>574</c:v>
                </c:pt>
                <c:pt idx="51">
                  <c:v>570</c:v>
                </c:pt>
                <c:pt idx="52">
                  <c:v>553</c:v>
                </c:pt>
                <c:pt idx="53">
                  <c:v>551</c:v>
                </c:pt>
                <c:pt idx="54">
                  <c:v>554</c:v>
                </c:pt>
                <c:pt idx="55">
                  <c:v>553</c:v>
                </c:pt>
                <c:pt idx="56">
                  <c:v>560</c:v>
                </c:pt>
                <c:pt idx="57">
                  <c:v>563</c:v>
                </c:pt>
                <c:pt idx="58">
                  <c:v>557</c:v>
                </c:pt>
                <c:pt idx="59">
                  <c:v>528</c:v>
                </c:pt>
                <c:pt idx="60">
                  <c:v>535</c:v>
                </c:pt>
                <c:pt idx="61">
                  <c:v>544</c:v>
                </c:pt>
                <c:pt idx="62">
                  <c:v>564</c:v>
                </c:pt>
                <c:pt idx="63">
                  <c:v>547</c:v>
                </c:pt>
                <c:pt idx="64">
                  <c:v>546</c:v>
                </c:pt>
                <c:pt idx="65">
                  <c:v>566</c:v>
                </c:pt>
                <c:pt idx="66">
                  <c:v>558</c:v>
                </c:pt>
                <c:pt idx="67">
                  <c:v>544</c:v>
                </c:pt>
                <c:pt idx="68">
                  <c:v>560</c:v>
                </c:pt>
                <c:pt idx="69">
                  <c:v>554</c:v>
                </c:pt>
                <c:pt idx="70">
                  <c:v>538</c:v>
                </c:pt>
                <c:pt idx="71">
                  <c:v>537</c:v>
                </c:pt>
                <c:pt idx="72">
                  <c:v>563</c:v>
                </c:pt>
                <c:pt idx="73">
                  <c:v>573</c:v>
                </c:pt>
                <c:pt idx="74">
                  <c:v>578</c:v>
                </c:pt>
                <c:pt idx="75">
                  <c:v>596</c:v>
                </c:pt>
                <c:pt idx="76">
                  <c:v>590</c:v>
                </c:pt>
                <c:pt idx="77">
                  <c:v>616</c:v>
                </c:pt>
                <c:pt idx="78">
                  <c:v>628</c:v>
                </c:pt>
                <c:pt idx="79">
                  <c:v>637</c:v>
                </c:pt>
                <c:pt idx="80">
                  <c:v>651</c:v>
                </c:pt>
                <c:pt idx="81">
                  <c:v>673</c:v>
                </c:pt>
                <c:pt idx="82">
                  <c:v>682</c:v>
                </c:pt>
                <c:pt idx="83">
                  <c:v>706</c:v>
                </c:pt>
                <c:pt idx="84">
                  <c:v>722</c:v>
                </c:pt>
                <c:pt idx="85">
                  <c:v>708</c:v>
                </c:pt>
                <c:pt idx="86">
                  <c:v>756</c:v>
                </c:pt>
                <c:pt idx="87">
                  <c:v>749</c:v>
                </c:pt>
                <c:pt idx="88">
                  <c:v>743</c:v>
                </c:pt>
                <c:pt idx="89">
                  <c:v>759</c:v>
                </c:pt>
                <c:pt idx="90">
                  <c:v>797</c:v>
                </c:pt>
                <c:pt idx="91">
                  <c:v>809</c:v>
                </c:pt>
                <c:pt idx="92">
                  <c:v>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F4-4D5C-A90A-C46233E10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1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829055639894149E-2"/>
          <c:y val="2.7386809338901984E-2"/>
          <c:w val="0.81243309387165319"/>
          <c:h val="0.8473079973142562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ruhá dávk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BQ$1</c:f>
              <c:strCache>
                <c:ptCount val="68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</c:strCache>
            </c:strRef>
          </c:cat>
          <c:val>
            <c:numRef>
              <c:f>Sheet1!$B$2:$BQ$2</c:f>
              <c:numCache>
                <c:formatCode>General</c:formatCode>
                <c:ptCount val="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632</c:v>
                </c:pt>
                <c:pt idx="22">
                  <c:v>2428</c:v>
                </c:pt>
                <c:pt idx="23">
                  <c:v>5121</c:v>
                </c:pt>
                <c:pt idx="24">
                  <c:v>7741</c:v>
                </c:pt>
                <c:pt idx="25">
                  <c:v>9459</c:v>
                </c:pt>
                <c:pt idx="26">
                  <c:v>10490</c:v>
                </c:pt>
                <c:pt idx="27">
                  <c:v>11354</c:v>
                </c:pt>
                <c:pt idx="28">
                  <c:v>12215</c:v>
                </c:pt>
                <c:pt idx="29">
                  <c:v>15144</c:v>
                </c:pt>
                <c:pt idx="30">
                  <c:v>19095</c:v>
                </c:pt>
                <c:pt idx="31">
                  <c:v>23575</c:v>
                </c:pt>
                <c:pt idx="32">
                  <c:v>29648</c:v>
                </c:pt>
                <c:pt idx="33">
                  <c:v>37407</c:v>
                </c:pt>
                <c:pt idx="34">
                  <c:v>38486</c:v>
                </c:pt>
                <c:pt idx="35">
                  <c:v>39616</c:v>
                </c:pt>
                <c:pt idx="36">
                  <c:v>47428</c:v>
                </c:pt>
                <c:pt idx="37">
                  <c:v>57557</c:v>
                </c:pt>
                <c:pt idx="38">
                  <c:v>68483</c:v>
                </c:pt>
                <c:pt idx="39">
                  <c:v>81352</c:v>
                </c:pt>
                <c:pt idx="40">
                  <c:v>91917</c:v>
                </c:pt>
                <c:pt idx="41">
                  <c:v>94229</c:v>
                </c:pt>
                <c:pt idx="42">
                  <c:v>96550</c:v>
                </c:pt>
                <c:pt idx="43">
                  <c:v>107846</c:v>
                </c:pt>
                <c:pt idx="44">
                  <c:v>119661</c:v>
                </c:pt>
                <c:pt idx="45">
                  <c:v>132707</c:v>
                </c:pt>
                <c:pt idx="46">
                  <c:v>148615</c:v>
                </c:pt>
                <c:pt idx="47">
                  <c:v>163139</c:v>
                </c:pt>
                <c:pt idx="48">
                  <c:v>166077</c:v>
                </c:pt>
                <c:pt idx="49">
                  <c:v>167440</c:v>
                </c:pt>
                <c:pt idx="50">
                  <c:v>176687</c:v>
                </c:pt>
                <c:pt idx="51" formatCode="#,##0">
                  <c:v>185497</c:v>
                </c:pt>
                <c:pt idx="52" formatCode="#,##0">
                  <c:v>193626</c:v>
                </c:pt>
                <c:pt idx="53" formatCode="#,##0">
                  <c:v>201480</c:v>
                </c:pt>
                <c:pt idx="54" formatCode="#,##0">
                  <c:v>208656</c:v>
                </c:pt>
                <c:pt idx="55" formatCode="#,##0">
                  <c:v>209818</c:v>
                </c:pt>
                <c:pt idx="56" formatCode="#,##0">
                  <c:v>210817</c:v>
                </c:pt>
                <c:pt idx="57" formatCode="#,##0">
                  <c:v>216768</c:v>
                </c:pt>
                <c:pt idx="58" formatCode="#,##0">
                  <c:v>223633</c:v>
                </c:pt>
                <c:pt idx="59" formatCode="#,##0">
                  <c:v>229494</c:v>
                </c:pt>
                <c:pt idx="60" formatCode="#,##0">
                  <c:v>234928</c:v>
                </c:pt>
                <c:pt idx="61" formatCode="#,##0">
                  <c:v>240106</c:v>
                </c:pt>
                <c:pt idx="62" formatCode="#,##0">
                  <c:v>240651</c:v>
                </c:pt>
                <c:pt idx="63" formatCode="#,##0">
                  <c:v>241187</c:v>
                </c:pt>
                <c:pt idx="64" formatCode="#,##0">
                  <c:v>244457</c:v>
                </c:pt>
                <c:pt idx="65" formatCode="#,##0">
                  <c:v>247758</c:v>
                </c:pt>
                <c:pt idx="66" formatCode="#,##0">
                  <c:v>251850</c:v>
                </c:pt>
                <c:pt idx="67" formatCode="#,##0">
                  <c:v>2554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7E-4C54-9ECD-9E2F8A4A2DF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vní dávk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BQ$1</c:f>
              <c:strCache>
                <c:ptCount val="68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</c:strCache>
            </c:strRef>
          </c:cat>
          <c:val>
            <c:numRef>
              <c:f>Sheet1!$B$3:$BQ$3</c:f>
              <c:numCache>
                <c:formatCode>General</c:formatCode>
                <c:ptCount val="68"/>
                <c:pt idx="0">
                  <c:v>1263</c:v>
                </c:pt>
                <c:pt idx="1">
                  <c:v>3559</c:v>
                </c:pt>
                <c:pt idx="2">
                  <c:v>7017</c:v>
                </c:pt>
                <c:pt idx="3">
                  <c:v>10494</c:v>
                </c:pt>
                <c:pt idx="4">
                  <c:v>11808</c:v>
                </c:pt>
                <c:pt idx="5">
                  <c:v>12072</c:v>
                </c:pt>
                <c:pt idx="6">
                  <c:v>13329</c:v>
                </c:pt>
                <c:pt idx="7">
                  <c:v>14246</c:v>
                </c:pt>
                <c:pt idx="8">
                  <c:v>17821</c:v>
                </c:pt>
                <c:pt idx="9">
                  <c:v>22341</c:v>
                </c:pt>
                <c:pt idx="10">
                  <c:v>28167</c:v>
                </c:pt>
                <c:pt idx="11">
                  <c:v>36136</c:v>
                </c:pt>
                <c:pt idx="12">
                  <c:v>46101</c:v>
                </c:pt>
                <c:pt idx="13">
                  <c:v>48110</c:v>
                </c:pt>
                <c:pt idx="14">
                  <c:v>49832</c:v>
                </c:pt>
                <c:pt idx="15">
                  <c:v>59615</c:v>
                </c:pt>
                <c:pt idx="16">
                  <c:v>73017</c:v>
                </c:pt>
                <c:pt idx="17">
                  <c:v>86515</c:v>
                </c:pt>
                <c:pt idx="18">
                  <c:v>101700</c:v>
                </c:pt>
                <c:pt idx="19">
                  <c:v>115620</c:v>
                </c:pt>
                <c:pt idx="20">
                  <c:v>118991</c:v>
                </c:pt>
                <c:pt idx="21">
                  <c:v>121441</c:v>
                </c:pt>
                <c:pt idx="22">
                  <c:v>133898</c:v>
                </c:pt>
                <c:pt idx="23">
                  <c:v>146260</c:v>
                </c:pt>
                <c:pt idx="24">
                  <c:v>159741</c:v>
                </c:pt>
                <c:pt idx="25">
                  <c:v>175158</c:v>
                </c:pt>
                <c:pt idx="26">
                  <c:v>189786</c:v>
                </c:pt>
                <c:pt idx="27">
                  <c:v>193043</c:v>
                </c:pt>
                <c:pt idx="28">
                  <c:v>195277</c:v>
                </c:pt>
                <c:pt idx="29">
                  <c:v>204876</c:v>
                </c:pt>
                <c:pt idx="30">
                  <c:v>215346</c:v>
                </c:pt>
                <c:pt idx="31">
                  <c:v>224339</c:v>
                </c:pt>
                <c:pt idx="32">
                  <c:v>231366</c:v>
                </c:pt>
                <c:pt idx="33">
                  <c:v>237530</c:v>
                </c:pt>
                <c:pt idx="34">
                  <c:v>238246</c:v>
                </c:pt>
                <c:pt idx="35">
                  <c:v>238944</c:v>
                </c:pt>
                <c:pt idx="36">
                  <c:v>242753</c:v>
                </c:pt>
                <c:pt idx="37">
                  <c:v>246850</c:v>
                </c:pt>
                <c:pt idx="38">
                  <c:v>251229</c:v>
                </c:pt>
                <c:pt idx="39">
                  <c:v>256055</c:v>
                </c:pt>
                <c:pt idx="40">
                  <c:v>261383</c:v>
                </c:pt>
                <c:pt idx="41">
                  <c:v>262214</c:v>
                </c:pt>
                <c:pt idx="42">
                  <c:v>263056</c:v>
                </c:pt>
                <c:pt idx="43">
                  <c:v>267029</c:v>
                </c:pt>
                <c:pt idx="44">
                  <c:v>272025</c:v>
                </c:pt>
                <c:pt idx="45">
                  <c:v>277416</c:v>
                </c:pt>
                <c:pt idx="46">
                  <c:v>283491</c:v>
                </c:pt>
                <c:pt idx="47">
                  <c:v>289862</c:v>
                </c:pt>
                <c:pt idx="48">
                  <c:v>291360</c:v>
                </c:pt>
                <c:pt idx="49">
                  <c:v>292341</c:v>
                </c:pt>
                <c:pt idx="50">
                  <c:v>298491</c:v>
                </c:pt>
                <c:pt idx="51" formatCode="#,##0">
                  <c:v>306836</c:v>
                </c:pt>
                <c:pt idx="52" formatCode="#,##0">
                  <c:v>316204</c:v>
                </c:pt>
                <c:pt idx="53" formatCode="#,##0">
                  <c:v>328215</c:v>
                </c:pt>
                <c:pt idx="54" formatCode="#,##0">
                  <c:v>339597</c:v>
                </c:pt>
                <c:pt idx="55" formatCode="#,##0">
                  <c:v>341455</c:v>
                </c:pt>
                <c:pt idx="56" formatCode="#,##0">
                  <c:v>342449</c:v>
                </c:pt>
                <c:pt idx="57" formatCode="#,##0">
                  <c:v>352315</c:v>
                </c:pt>
                <c:pt idx="58" formatCode="#,##0">
                  <c:v>364844</c:v>
                </c:pt>
                <c:pt idx="59" formatCode="#,##0">
                  <c:v>378431</c:v>
                </c:pt>
                <c:pt idx="60" formatCode="#,##0">
                  <c:v>395706</c:v>
                </c:pt>
                <c:pt idx="61" formatCode="#,##0">
                  <c:v>411220</c:v>
                </c:pt>
                <c:pt idx="62" formatCode="#,##0">
                  <c:v>414095</c:v>
                </c:pt>
                <c:pt idx="63" formatCode="#,##0">
                  <c:v>416405</c:v>
                </c:pt>
                <c:pt idx="64" formatCode="#,##0">
                  <c:v>434808</c:v>
                </c:pt>
                <c:pt idx="65" formatCode="#,##0">
                  <c:v>460301</c:v>
                </c:pt>
                <c:pt idx="66" formatCode="#,##0">
                  <c:v>487997</c:v>
                </c:pt>
                <c:pt idx="67" formatCode="#,##0">
                  <c:v>515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7E-4C54-9ECD-9E2F8A4A2D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83764288"/>
        <c:axId val="50879584"/>
      </c:barChart>
      <c:catAx>
        <c:axId val="3837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tickLblSkip val="1"/>
        <c:noMultiLvlLbl val="1"/>
      </c:catAx>
      <c:valAx>
        <c:axId val="50879584"/>
        <c:scaling>
          <c:orientation val="minMax"/>
          <c:max val="8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126195977639026"/>
          <c:y val="9.0462389009884403E-2"/>
          <c:w val="0.12547941142709895"/>
          <c:h val="0.10690865769438394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Královéhradecký kraj</c:v>
                </c:pt>
                <c:pt idx="4">
                  <c:v>Plzeňs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Liberecký kraj</c:v>
                </c:pt>
                <c:pt idx="8">
                  <c:v>Karlovars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5.609211667951641</c:v>
                </c:pt>
                <c:pt idx="1">
                  <c:v>54.744497215420999</c:v>
                </c:pt>
                <c:pt idx="2">
                  <c:v>51.195510059986674</c:v>
                </c:pt>
                <c:pt idx="3">
                  <c:v>50.465243171810961</c:v>
                </c:pt>
                <c:pt idx="4">
                  <c:v>48.865992313938492</c:v>
                </c:pt>
                <c:pt idx="5">
                  <c:v>48.238700189347391</c:v>
                </c:pt>
                <c:pt idx="6">
                  <c:v>48.227598829580003</c:v>
                </c:pt>
                <c:pt idx="7">
                  <c:v>47.686447745047218</c:v>
                </c:pt>
                <c:pt idx="8">
                  <c:v>47.145223033692609</c:v>
                </c:pt>
                <c:pt idx="9">
                  <c:v>46.573939856378715</c:v>
                </c:pt>
                <c:pt idx="10">
                  <c:v>46.163461310253716</c:v>
                </c:pt>
                <c:pt idx="11">
                  <c:v>45.650917801562002</c:v>
                </c:pt>
                <c:pt idx="12">
                  <c:v>43.312648591120158</c:v>
                </c:pt>
                <c:pt idx="13">
                  <c:v>39.178235775764058</c:v>
                </c:pt>
                <c:pt idx="14">
                  <c:v>33.372920891877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66727035727929074"/>
          <c:h val="0.8353430253390468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 ve věku 80+ celkem</c:v>
                </c:pt>
              </c:strCache>
            </c:strRef>
          </c:tx>
          <c:spPr>
            <a:ln w="28575" cap="rnd">
              <a:solidFill>
                <a:srgbClr val="D31145"/>
              </a:solidFill>
              <a:round/>
            </a:ln>
            <a:effectLst/>
          </c:spPr>
          <c:marker>
            <c:symbol val="none"/>
          </c:marker>
          <c:cat>
            <c:strRef>
              <c:f>List1!$C$1:$BQ$1</c:f>
              <c:strCache>
                <c:ptCount val="6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</c:strCache>
            </c:strRef>
          </c:cat>
          <c:val>
            <c:numRef>
              <c:f>List1!$C$2:$BQ$2</c:f>
              <c:numCache>
                <c:formatCode>General</c:formatCode>
                <c:ptCount val="67"/>
                <c:pt idx="0">
                  <c:v>124</c:v>
                </c:pt>
                <c:pt idx="1">
                  <c:v>404</c:v>
                </c:pt>
                <c:pt idx="2">
                  <c:v>585</c:v>
                </c:pt>
                <c:pt idx="3">
                  <c:v>703</c:v>
                </c:pt>
                <c:pt idx="4">
                  <c:v>706</c:v>
                </c:pt>
                <c:pt idx="5">
                  <c:v>718</c:v>
                </c:pt>
                <c:pt idx="6">
                  <c:v>720</c:v>
                </c:pt>
                <c:pt idx="7">
                  <c:v>750</c:v>
                </c:pt>
                <c:pt idx="8">
                  <c:v>791</c:v>
                </c:pt>
                <c:pt idx="9">
                  <c:v>858</c:v>
                </c:pt>
                <c:pt idx="10">
                  <c:v>1257</c:v>
                </c:pt>
                <c:pt idx="11">
                  <c:v>2114</c:v>
                </c:pt>
                <c:pt idx="12">
                  <c:v>2301</c:v>
                </c:pt>
                <c:pt idx="13">
                  <c:v>2409</c:v>
                </c:pt>
                <c:pt idx="14">
                  <c:v>3047</c:v>
                </c:pt>
                <c:pt idx="15">
                  <c:v>4700</c:v>
                </c:pt>
                <c:pt idx="16">
                  <c:v>6388</c:v>
                </c:pt>
                <c:pt idx="17">
                  <c:v>8669</c:v>
                </c:pt>
                <c:pt idx="18">
                  <c:v>10948</c:v>
                </c:pt>
                <c:pt idx="19">
                  <c:v>12452</c:v>
                </c:pt>
                <c:pt idx="20">
                  <c:v>13999</c:v>
                </c:pt>
                <c:pt idx="21">
                  <c:v>18735</c:v>
                </c:pt>
                <c:pt idx="22">
                  <c:v>24364</c:v>
                </c:pt>
                <c:pt idx="23">
                  <c:v>30875</c:v>
                </c:pt>
                <c:pt idx="24">
                  <c:v>39108</c:v>
                </c:pt>
                <c:pt idx="25">
                  <c:v>47978</c:v>
                </c:pt>
                <c:pt idx="26">
                  <c:v>50437</c:v>
                </c:pt>
                <c:pt idx="27">
                  <c:v>52266</c:v>
                </c:pt>
                <c:pt idx="28">
                  <c:v>58409</c:v>
                </c:pt>
                <c:pt idx="29">
                  <c:v>64753</c:v>
                </c:pt>
                <c:pt idx="30">
                  <c:v>70236</c:v>
                </c:pt>
                <c:pt idx="31">
                  <c:v>74872</c:v>
                </c:pt>
                <c:pt idx="32">
                  <c:v>79199</c:v>
                </c:pt>
                <c:pt idx="33">
                  <c:v>79824</c:v>
                </c:pt>
                <c:pt idx="34">
                  <c:v>80481</c:v>
                </c:pt>
                <c:pt idx="35">
                  <c:v>83314</c:v>
                </c:pt>
                <c:pt idx="36">
                  <c:v>86627</c:v>
                </c:pt>
                <c:pt idx="37">
                  <c:v>90210</c:v>
                </c:pt>
                <c:pt idx="38">
                  <c:v>94944</c:v>
                </c:pt>
                <c:pt idx="39">
                  <c:v>99605</c:v>
                </c:pt>
                <c:pt idx="40">
                  <c:v>101379</c:v>
                </c:pt>
                <c:pt idx="41">
                  <c:v>103390</c:v>
                </c:pt>
                <c:pt idx="42">
                  <c:v>109404</c:v>
                </c:pt>
                <c:pt idx="43">
                  <c:v>116901</c:v>
                </c:pt>
                <c:pt idx="44">
                  <c:v>125482</c:v>
                </c:pt>
                <c:pt idx="45">
                  <c:v>136434</c:v>
                </c:pt>
                <c:pt idx="46">
                  <c:v>147609</c:v>
                </c:pt>
                <c:pt idx="47">
                  <c:v>150470</c:v>
                </c:pt>
                <c:pt idx="48">
                  <c:v>152252</c:v>
                </c:pt>
                <c:pt idx="49">
                  <c:v>161013</c:v>
                </c:pt>
                <c:pt idx="50">
                  <c:v>171387</c:v>
                </c:pt>
                <c:pt idx="51">
                  <c:v>181342</c:v>
                </c:pt>
                <c:pt idx="52">
                  <c:v>192906</c:v>
                </c:pt>
                <c:pt idx="53">
                  <c:v>203791</c:v>
                </c:pt>
                <c:pt idx="54">
                  <c:v>205916</c:v>
                </c:pt>
                <c:pt idx="55">
                  <c:v>207515</c:v>
                </c:pt>
                <c:pt idx="56">
                  <c:v>217353</c:v>
                </c:pt>
                <c:pt idx="57">
                  <c:v>229098</c:v>
                </c:pt>
                <c:pt idx="58">
                  <c:v>240072</c:v>
                </c:pt>
                <c:pt idx="59">
                  <c:v>253083</c:v>
                </c:pt>
                <c:pt idx="60">
                  <c:v>264135</c:v>
                </c:pt>
                <c:pt idx="61">
                  <c:v>266330</c:v>
                </c:pt>
                <c:pt idx="62">
                  <c:v>267965</c:v>
                </c:pt>
                <c:pt idx="63">
                  <c:v>277363</c:v>
                </c:pt>
                <c:pt idx="64">
                  <c:v>286631</c:v>
                </c:pt>
                <c:pt idx="65">
                  <c:v>295927</c:v>
                </c:pt>
                <c:pt idx="66">
                  <c:v>304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Zdravotničtí pracovníci / ochrana veřejného zdraví celkem</c:v>
                </c:pt>
              </c:strCache>
            </c:strRef>
          </c:tx>
          <c:spPr>
            <a:ln w="28575" cap="rnd">
              <a:solidFill>
                <a:srgbClr val="00CD61"/>
              </a:solidFill>
              <a:round/>
            </a:ln>
            <a:effectLst/>
          </c:spPr>
          <c:marker>
            <c:symbol val="none"/>
          </c:marker>
          <c:cat>
            <c:strRef>
              <c:f>List1!$C$1:$BQ$1</c:f>
              <c:strCache>
                <c:ptCount val="6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</c:strCache>
            </c:strRef>
          </c:cat>
          <c:val>
            <c:numRef>
              <c:f>List1!$C$3:$BQ$3</c:f>
              <c:numCache>
                <c:formatCode>General</c:formatCode>
                <c:ptCount val="67"/>
                <c:pt idx="0">
                  <c:v>3092</c:v>
                </c:pt>
                <c:pt idx="1">
                  <c:v>5950</c:v>
                </c:pt>
                <c:pt idx="2">
                  <c:v>8847</c:v>
                </c:pt>
                <c:pt idx="3">
                  <c:v>9832</c:v>
                </c:pt>
                <c:pt idx="4">
                  <c:v>10081</c:v>
                </c:pt>
                <c:pt idx="5">
                  <c:v>11274</c:v>
                </c:pt>
                <c:pt idx="6">
                  <c:v>12146</c:v>
                </c:pt>
                <c:pt idx="7">
                  <c:v>15452</c:v>
                </c:pt>
                <c:pt idx="8">
                  <c:v>19648</c:v>
                </c:pt>
                <c:pt idx="9">
                  <c:v>24946</c:v>
                </c:pt>
                <c:pt idx="10">
                  <c:v>31436</c:v>
                </c:pt>
                <c:pt idx="11">
                  <c:v>38796</c:v>
                </c:pt>
                <c:pt idx="12">
                  <c:v>40111</c:v>
                </c:pt>
                <c:pt idx="13">
                  <c:v>41274</c:v>
                </c:pt>
                <c:pt idx="14">
                  <c:v>48588</c:v>
                </c:pt>
                <c:pt idx="15">
                  <c:v>57190</c:v>
                </c:pt>
                <c:pt idx="16">
                  <c:v>64713</c:v>
                </c:pt>
                <c:pt idx="17">
                  <c:v>72703</c:v>
                </c:pt>
                <c:pt idx="18">
                  <c:v>79647</c:v>
                </c:pt>
                <c:pt idx="19">
                  <c:v>80744</c:v>
                </c:pt>
                <c:pt idx="20">
                  <c:v>81952</c:v>
                </c:pt>
                <c:pt idx="21">
                  <c:v>88735</c:v>
                </c:pt>
                <c:pt idx="22">
                  <c:v>95191</c:v>
                </c:pt>
                <c:pt idx="23">
                  <c:v>101490</c:v>
                </c:pt>
                <c:pt idx="24">
                  <c:v>107069</c:v>
                </c:pt>
                <c:pt idx="25">
                  <c:v>111306</c:v>
                </c:pt>
                <c:pt idx="26">
                  <c:v>112699</c:v>
                </c:pt>
                <c:pt idx="27">
                  <c:v>113960</c:v>
                </c:pt>
                <c:pt idx="28">
                  <c:v>118853</c:v>
                </c:pt>
                <c:pt idx="29">
                  <c:v>124759</c:v>
                </c:pt>
                <c:pt idx="30">
                  <c:v>130809</c:v>
                </c:pt>
                <c:pt idx="31">
                  <c:v>137612</c:v>
                </c:pt>
                <c:pt idx="32">
                  <c:v>145211</c:v>
                </c:pt>
                <c:pt idx="33">
                  <c:v>145968</c:v>
                </c:pt>
                <c:pt idx="34">
                  <c:v>146705</c:v>
                </c:pt>
                <c:pt idx="35">
                  <c:v>153725</c:v>
                </c:pt>
                <c:pt idx="36">
                  <c:v>161915</c:v>
                </c:pt>
                <c:pt idx="37">
                  <c:v>169726</c:v>
                </c:pt>
                <c:pt idx="38">
                  <c:v>178268</c:v>
                </c:pt>
                <c:pt idx="39">
                  <c:v>185676</c:v>
                </c:pt>
                <c:pt idx="40">
                  <c:v>186673</c:v>
                </c:pt>
                <c:pt idx="41">
                  <c:v>187604</c:v>
                </c:pt>
                <c:pt idx="42">
                  <c:v>193909</c:v>
                </c:pt>
                <c:pt idx="43">
                  <c:v>199514</c:v>
                </c:pt>
                <c:pt idx="44">
                  <c:v>204997</c:v>
                </c:pt>
                <c:pt idx="45">
                  <c:v>210752</c:v>
                </c:pt>
                <c:pt idx="46">
                  <c:v>216127</c:v>
                </c:pt>
                <c:pt idx="47">
                  <c:v>217277</c:v>
                </c:pt>
                <c:pt idx="48">
                  <c:v>217803</c:v>
                </c:pt>
                <c:pt idx="49">
                  <c:v>222293</c:v>
                </c:pt>
                <c:pt idx="50">
                  <c:v>226020</c:v>
                </c:pt>
                <c:pt idx="51">
                  <c:v>229373</c:v>
                </c:pt>
                <c:pt idx="52">
                  <c:v>233099</c:v>
                </c:pt>
                <c:pt idx="53">
                  <c:v>237183</c:v>
                </c:pt>
                <c:pt idx="54">
                  <c:v>237812</c:v>
                </c:pt>
                <c:pt idx="55">
                  <c:v>238078</c:v>
                </c:pt>
                <c:pt idx="56">
                  <c:v>241152</c:v>
                </c:pt>
                <c:pt idx="57">
                  <c:v>245333</c:v>
                </c:pt>
                <c:pt idx="58">
                  <c:v>249356</c:v>
                </c:pt>
                <c:pt idx="59">
                  <c:v>254163</c:v>
                </c:pt>
                <c:pt idx="60">
                  <c:v>258532</c:v>
                </c:pt>
                <c:pt idx="61">
                  <c:v>258937</c:v>
                </c:pt>
                <c:pt idx="62">
                  <c:v>259243</c:v>
                </c:pt>
                <c:pt idx="63">
                  <c:v>262830</c:v>
                </c:pt>
                <c:pt idx="64">
                  <c:v>266836</c:v>
                </c:pt>
                <c:pt idx="65">
                  <c:v>270846</c:v>
                </c:pt>
                <c:pt idx="66">
                  <c:v>274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racovníci a klienti v sociálních službách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C$1:$BQ$1</c:f>
              <c:strCache>
                <c:ptCount val="6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</c:strCache>
            </c:strRef>
          </c:cat>
          <c:val>
            <c:numRef>
              <c:f>List1!$C$4:$BQ$4</c:f>
              <c:numCache>
                <c:formatCode>General</c:formatCode>
                <c:ptCount val="67"/>
                <c:pt idx="0">
                  <c:v>86</c:v>
                </c:pt>
                <c:pt idx="1">
                  <c:v>398</c:v>
                </c:pt>
                <c:pt idx="2">
                  <c:v>681</c:v>
                </c:pt>
                <c:pt idx="3">
                  <c:v>875</c:v>
                </c:pt>
                <c:pt idx="4">
                  <c:v>879</c:v>
                </c:pt>
                <c:pt idx="5">
                  <c:v>879</c:v>
                </c:pt>
                <c:pt idx="6">
                  <c:v>881</c:v>
                </c:pt>
                <c:pt idx="7">
                  <c:v>884</c:v>
                </c:pt>
                <c:pt idx="8">
                  <c:v>896</c:v>
                </c:pt>
                <c:pt idx="9">
                  <c:v>951</c:v>
                </c:pt>
                <c:pt idx="10">
                  <c:v>1567</c:v>
                </c:pt>
                <c:pt idx="11">
                  <c:v>3155</c:v>
                </c:pt>
                <c:pt idx="12">
                  <c:v>3459</c:v>
                </c:pt>
                <c:pt idx="13">
                  <c:v>3539</c:v>
                </c:pt>
                <c:pt idx="14">
                  <c:v>4460</c:v>
                </c:pt>
                <c:pt idx="15">
                  <c:v>6405</c:v>
                </c:pt>
                <c:pt idx="16">
                  <c:v>9276</c:v>
                </c:pt>
                <c:pt idx="17">
                  <c:v>13311</c:v>
                </c:pt>
                <c:pt idx="18">
                  <c:v>17163</c:v>
                </c:pt>
                <c:pt idx="19">
                  <c:v>17781</c:v>
                </c:pt>
                <c:pt idx="20">
                  <c:v>17880</c:v>
                </c:pt>
                <c:pt idx="21">
                  <c:v>20589</c:v>
                </c:pt>
                <c:pt idx="22">
                  <c:v>24078</c:v>
                </c:pt>
                <c:pt idx="23">
                  <c:v>28007</c:v>
                </c:pt>
                <c:pt idx="24">
                  <c:v>31720</c:v>
                </c:pt>
                <c:pt idx="25">
                  <c:v>34708</c:v>
                </c:pt>
                <c:pt idx="26">
                  <c:v>35306</c:v>
                </c:pt>
                <c:pt idx="27">
                  <c:v>35431</c:v>
                </c:pt>
                <c:pt idx="28">
                  <c:v>37353</c:v>
                </c:pt>
                <c:pt idx="29">
                  <c:v>40008</c:v>
                </c:pt>
                <c:pt idx="30">
                  <c:v>42446</c:v>
                </c:pt>
                <c:pt idx="31">
                  <c:v>44246</c:v>
                </c:pt>
                <c:pt idx="32">
                  <c:v>46091</c:v>
                </c:pt>
                <c:pt idx="33">
                  <c:v>46269</c:v>
                </c:pt>
                <c:pt idx="34">
                  <c:v>46334</c:v>
                </c:pt>
                <c:pt idx="35">
                  <c:v>47619</c:v>
                </c:pt>
                <c:pt idx="36">
                  <c:v>49273</c:v>
                </c:pt>
                <c:pt idx="37">
                  <c:v>51464</c:v>
                </c:pt>
                <c:pt idx="38">
                  <c:v>54812</c:v>
                </c:pt>
                <c:pt idx="39">
                  <c:v>57775</c:v>
                </c:pt>
                <c:pt idx="40">
                  <c:v>57817</c:v>
                </c:pt>
                <c:pt idx="41">
                  <c:v>57861</c:v>
                </c:pt>
                <c:pt idx="42">
                  <c:v>60578</c:v>
                </c:pt>
                <c:pt idx="43">
                  <c:v>64335</c:v>
                </c:pt>
                <c:pt idx="44">
                  <c:v>69130</c:v>
                </c:pt>
                <c:pt idx="45">
                  <c:v>74492</c:v>
                </c:pt>
                <c:pt idx="46">
                  <c:v>79269</c:v>
                </c:pt>
                <c:pt idx="47">
                  <c:v>79941</c:v>
                </c:pt>
                <c:pt idx="48">
                  <c:v>80071</c:v>
                </c:pt>
                <c:pt idx="49">
                  <c:v>82370</c:v>
                </c:pt>
                <c:pt idx="50">
                  <c:v>86429</c:v>
                </c:pt>
                <c:pt idx="51">
                  <c:v>91044</c:v>
                </c:pt>
                <c:pt idx="52">
                  <c:v>95467</c:v>
                </c:pt>
                <c:pt idx="53">
                  <c:v>99093</c:v>
                </c:pt>
                <c:pt idx="54">
                  <c:v>99256</c:v>
                </c:pt>
                <c:pt idx="55">
                  <c:v>99259</c:v>
                </c:pt>
                <c:pt idx="56">
                  <c:v>101748</c:v>
                </c:pt>
                <c:pt idx="57">
                  <c:v>104641</c:v>
                </c:pt>
                <c:pt idx="58">
                  <c:v>107867</c:v>
                </c:pt>
                <c:pt idx="59">
                  <c:v>111871</c:v>
                </c:pt>
                <c:pt idx="60">
                  <c:v>115248</c:v>
                </c:pt>
                <c:pt idx="61">
                  <c:v>115416</c:v>
                </c:pt>
                <c:pt idx="62">
                  <c:v>115518</c:v>
                </c:pt>
                <c:pt idx="63">
                  <c:v>117088</c:v>
                </c:pt>
                <c:pt idx="64">
                  <c:v>118925</c:v>
                </c:pt>
                <c:pt idx="65">
                  <c:v>121371</c:v>
                </c:pt>
                <c:pt idx="66">
                  <c:v>123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Ostatní</c:v>
                </c:pt>
              </c:strCache>
            </c:strRef>
          </c:tx>
          <c:spPr>
            <a:ln w="28575" cap="rnd">
              <a:solidFill>
                <a:srgbClr val="FFFFFF">
                  <a:lumMod val="6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C$1:$BQ$1</c:f>
              <c:strCache>
                <c:ptCount val="6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</c:strCache>
            </c:strRef>
          </c:cat>
          <c:val>
            <c:numRef>
              <c:f>List1!$C$5:$BQ$5</c:f>
              <c:numCache>
                <c:formatCode>General</c:formatCode>
                <c:ptCount val="67"/>
                <c:pt idx="0">
                  <c:v>338</c:v>
                </c:pt>
                <c:pt idx="1">
                  <c:v>590</c:v>
                </c:pt>
                <c:pt idx="2">
                  <c:v>868</c:v>
                </c:pt>
                <c:pt idx="3">
                  <c:v>983</c:v>
                </c:pt>
                <c:pt idx="4">
                  <c:v>993</c:v>
                </c:pt>
                <c:pt idx="5">
                  <c:v>1052</c:v>
                </c:pt>
                <c:pt idx="6">
                  <c:v>1093</c:v>
                </c:pt>
                <c:pt idx="7">
                  <c:v>1340</c:v>
                </c:pt>
                <c:pt idx="8">
                  <c:v>1621</c:v>
                </c:pt>
                <c:pt idx="9">
                  <c:v>2056</c:v>
                </c:pt>
                <c:pt idx="10">
                  <c:v>2856</c:v>
                </c:pt>
                <c:pt idx="11">
                  <c:v>3800</c:v>
                </c:pt>
                <c:pt idx="12">
                  <c:v>4149</c:v>
                </c:pt>
                <c:pt idx="13">
                  <c:v>4563</c:v>
                </c:pt>
                <c:pt idx="14">
                  <c:v>5964</c:v>
                </c:pt>
                <c:pt idx="15">
                  <c:v>8266</c:v>
                </c:pt>
                <c:pt idx="16">
                  <c:v>10893</c:v>
                </c:pt>
                <c:pt idx="17">
                  <c:v>13482</c:v>
                </c:pt>
                <c:pt idx="18">
                  <c:v>15829</c:v>
                </c:pt>
                <c:pt idx="19">
                  <c:v>16295</c:v>
                </c:pt>
                <c:pt idx="20">
                  <c:v>16602</c:v>
                </c:pt>
                <c:pt idx="21">
                  <c:v>17726</c:v>
                </c:pt>
                <c:pt idx="22">
                  <c:v>18675</c:v>
                </c:pt>
                <c:pt idx="23">
                  <c:v>19720</c:v>
                </c:pt>
                <c:pt idx="24">
                  <c:v>20701</c:v>
                </c:pt>
                <c:pt idx="25">
                  <c:v>21429</c:v>
                </c:pt>
                <c:pt idx="26">
                  <c:v>21565</c:v>
                </c:pt>
                <c:pt idx="27">
                  <c:v>21704</c:v>
                </c:pt>
                <c:pt idx="28">
                  <c:v>22143</c:v>
                </c:pt>
                <c:pt idx="29">
                  <c:v>22628</c:v>
                </c:pt>
                <c:pt idx="30">
                  <c:v>23115</c:v>
                </c:pt>
                <c:pt idx="31">
                  <c:v>23728</c:v>
                </c:pt>
                <c:pt idx="32">
                  <c:v>24617</c:v>
                </c:pt>
                <c:pt idx="33">
                  <c:v>24895</c:v>
                </c:pt>
                <c:pt idx="34">
                  <c:v>25308</c:v>
                </c:pt>
                <c:pt idx="35">
                  <c:v>26448</c:v>
                </c:pt>
                <c:pt idx="36">
                  <c:v>28357</c:v>
                </c:pt>
                <c:pt idx="37">
                  <c:v>30827</c:v>
                </c:pt>
                <c:pt idx="38">
                  <c:v>33450</c:v>
                </c:pt>
                <c:pt idx="39">
                  <c:v>35617</c:v>
                </c:pt>
                <c:pt idx="40">
                  <c:v>36002</c:v>
                </c:pt>
                <c:pt idx="41">
                  <c:v>36258</c:v>
                </c:pt>
                <c:pt idx="42">
                  <c:v>37493</c:v>
                </c:pt>
                <c:pt idx="43">
                  <c:v>38845</c:v>
                </c:pt>
                <c:pt idx="44">
                  <c:v>40379</c:v>
                </c:pt>
                <c:pt idx="45">
                  <c:v>42176</c:v>
                </c:pt>
                <c:pt idx="46">
                  <c:v>43470</c:v>
                </c:pt>
                <c:pt idx="47">
                  <c:v>43696</c:v>
                </c:pt>
                <c:pt idx="48">
                  <c:v>43812</c:v>
                </c:pt>
                <c:pt idx="49">
                  <c:v>44702</c:v>
                </c:pt>
                <c:pt idx="50">
                  <c:v>45500</c:v>
                </c:pt>
                <c:pt idx="51">
                  <c:v>46806</c:v>
                </c:pt>
                <c:pt idx="52">
                  <c:v>48321</c:v>
                </c:pt>
                <c:pt idx="53">
                  <c:v>49783</c:v>
                </c:pt>
                <c:pt idx="54">
                  <c:v>50029</c:v>
                </c:pt>
                <c:pt idx="55">
                  <c:v>50176</c:v>
                </c:pt>
                <c:pt idx="56">
                  <c:v>51566</c:v>
                </c:pt>
                <c:pt idx="57">
                  <c:v>53163</c:v>
                </c:pt>
                <c:pt idx="58">
                  <c:v>55348</c:v>
                </c:pt>
                <c:pt idx="59">
                  <c:v>57543</c:v>
                </c:pt>
                <c:pt idx="60">
                  <c:v>60413</c:v>
                </c:pt>
                <c:pt idx="61">
                  <c:v>61119</c:v>
                </c:pt>
                <c:pt idx="62">
                  <c:v>61955</c:v>
                </c:pt>
                <c:pt idx="63">
                  <c:v>69627</c:v>
                </c:pt>
                <c:pt idx="64">
                  <c:v>83992</c:v>
                </c:pt>
                <c:pt idx="65">
                  <c:v>100641</c:v>
                </c:pt>
                <c:pt idx="66">
                  <c:v>118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2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975002744348294"/>
          <c:y val="0.17037009667659694"/>
          <c:w val="0.21430622391825438"/>
          <c:h val="0.584113549388836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0</c:f>
              <c:strCache>
                <c:ptCount val="29"/>
                <c:pt idx="0">
                  <c:v>Malta</c:v>
                </c:pt>
                <c:pt idx="1">
                  <c:v>Island</c:v>
                </c:pt>
                <c:pt idx="2">
                  <c:v>Dánsko</c:v>
                </c:pt>
                <c:pt idx="3">
                  <c:v>Rumunsko</c:v>
                </c:pt>
                <c:pt idx="4">
                  <c:v>Polsko</c:v>
                </c:pt>
                <c:pt idx="5">
                  <c:v>Irsko</c:v>
                </c:pt>
                <c:pt idx="6">
                  <c:v>Norsko</c:v>
                </c:pt>
                <c:pt idx="7">
                  <c:v>Řecko</c:v>
                </c:pt>
                <c:pt idx="8">
                  <c:v>Švédsko</c:v>
                </c:pt>
                <c:pt idx="9">
                  <c:v>Belgie</c:v>
                </c:pt>
                <c:pt idx="10">
                  <c:v>Slovensko</c:v>
                </c:pt>
                <c:pt idx="11">
                  <c:v>Kypr</c:v>
                </c:pt>
                <c:pt idx="12">
                  <c:v>Rakousko</c:v>
                </c:pt>
                <c:pt idx="13">
                  <c:v>Estonsko</c:v>
                </c:pt>
                <c:pt idx="14">
                  <c:v>Litva</c:v>
                </c:pt>
                <c:pt idx="15">
                  <c:v>Portugalsko</c:v>
                </c:pt>
                <c:pt idx="16">
                  <c:v>Slovinsko</c:v>
                </c:pt>
                <c:pt idx="17">
                  <c:v>Španělsko</c:v>
                </c:pt>
                <c:pt idx="18">
                  <c:v>Německo</c:v>
                </c:pt>
                <c:pt idx="19">
                  <c:v>Francie</c:v>
                </c:pt>
                <c:pt idx="20">
                  <c:v>Maďarsko</c:v>
                </c:pt>
                <c:pt idx="21">
                  <c:v>Česká republika</c:v>
                </c:pt>
                <c:pt idx="22">
                  <c:v>Itálie</c:v>
                </c:pt>
                <c:pt idx="23">
                  <c:v>Nizozemsko</c:v>
                </c:pt>
                <c:pt idx="24">
                  <c:v>Lucembursko</c:v>
                </c:pt>
                <c:pt idx="25">
                  <c:v>Finsko</c:v>
                </c:pt>
                <c:pt idx="26">
                  <c:v>Chorvatsko</c:v>
                </c:pt>
                <c:pt idx="27">
                  <c:v>Lotyšsko</c:v>
                </c:pt>
                <c:pt idx="28">
                  <c:v>Bulhars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5.7000000000000002E-2</c:v>
                </c:pt>
                <c:pt idx="1">
                  <c:v>4.4999999999999998E-2</c:v>
                </c:pt>
                <c:pt idx="2">
                  <c:v>0.04</c:v>
                </c:pt>
                <c:pt idx="3">
                  <c:v>3.9E-2</c:v>
                </c:pt>
                <c:pt idx="4">
                  <c:v>3.7999999999999999E-2</c:v>
                </c:pt>
                <c:pt idx="5">
                  <c:v>3.7999999999999999E-2</c:v>
                </c:pt>
                <c:pt idx="6">
                  <c:v>3.6999999999999998E-2</c:v>
                </c:pt>
                <c:pt idx="7">
                  <c:v>3.5000000000000003E-2</c:v>
                </c:pt>
                <c:pt idx="8">
                  <c:v>3.4000000000000002E-2</c:v>
                </c:pt>
                <c:pt idx="9">
                  <c:v>3.4000000000000002E-2</c:v>
                </c:pt>
                <c:pt idx="10">
                  <c:v>3.3000000000000002E-2</c:v>
                </c:pt>
                <c:pt idx="11">
                  <c:v>3.2000000000000001E-2</c:v>
                </c:pt>
                <c:pt idx="12">
                  <c:v>3.2000000000000001E-2</c:v>
                </c:pt>
                <c:pt idx="13">
                  <c:v>3.2000000000000001E-2</c:v>
                </c:pt>
                <c:pt idx="14">
                  <c:v>3.1E-2</c:v>
                </c:pt>
                <c:pt idx="15">
                  <c:v>3.1E-2</c:v>
                </c:pt>
                <c:pt idx="16">
                  <c:v>0.03</c:v>
                </c:pt>
                <c:pt idx="17">
                  <c:v>0.03</c:v>
                </c:pt>
                <c:pt idx="18">
                  <c:v>0.03</c:v>
                </c:pt>
                <c:pt idx="19">
                  <c:v>0.03</c:v>
                </c:pt>
                <c:pt idx="20">
                  <c:v>2.9000000000000001E-2</c:v>
                </c:pt>
                <c:pt idx="21">
                  <c:v>2.8000000000000001E-2</c:v>
                </c:pt>
                <c:pt idx="22">
                  <c:v>2.5999999999999999E-2</c:v>
                </c:pt>
                <c:pt idx="23">
                  <c:v>2.4E-2</c:v>
                </c:pt>
                <c:pt idx="24">
                  <c:v>2.3E-2</c:v>
                </c:pt>
                <c:pt idx="25">
                  <c:v>1.7999999999999999E-2</c:v>
                </c:pt>
                <c:pt idx="26">
                  <c:v>1.4999999999999999E-2</c:v>
                </c:pt>
                <c:pt idx="27">
                  <c:v>1.0999999999999999E-2</c:v>
                </c:pt>
                <c:pt idx="28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7096472"/>
        <c:axId val="387099608"/>
      </c:barChart>
      <c:catAx>
        <c:axId val="387096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7099608"/>
        <c:crosses val="autoZero"/>
        <c:auto val="1"/>
        <c:lblAlgn val="ctr"/>
        <c:lblOffset val="100"/>
        <c:noMultiLvlLbl val="0"/>
      </c:catAx>
      <c:valAx>
        <c:axId val="387099608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7096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17553847713110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2.2022759049447156E-3"/>
                  <c:y val="-2.331291650758203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9.10.20</c:v>
                </c:pt>
                <c:pt idx="1">
                  <c:v>30.10.20</c:v>
                </c:pt>
                <c:pt idx="2">
                  <c:v>31.10.20</c:v>
                </c:pt>
                <c:pt idx="3">
                  <c:v>01.11.20</c:v>
                </c:pt>
                <c:pt idx="4">
                  <c:v>02.11.20</c:v>
                </c:pt>
                <c:pt idx="5">
                  <c:v>03.11.20</c:v>
                </c:pt>
                <c:pt idx="6">
                  <c:v>04.11.20</c:v>
                </c:pt>
                <c:pt idx="7">
                  <c:v>05.11.20</c:v>
                </c:pt>
                <c:pt idx="8">
                  <c:v>06.11.20</c:v>
                </c:pt>
                <c:pt idx="9">
                  <c:v>07.11.20</c:v>
                </c:pt>
                <c:pt idx="10">
                  <c:v>08.11.20</c:v>
                </c:pt>
                <c:pt idx="11">
                  <c:v>09.11.20</c:v>
                </c:pt>
                <c:pt idx="12">
                  <c:v>10.11.20</c:v>
                </c:pt>
                <c:pt idx="13">
                  <c:v>11.11.20</c:v>
                </c:pt>
                <c:pt idx="14">
                  <c:v>12.11.20</c:v>
                </c:pt>
                <c:pt idx="15">
                  <c:v>13.11.20</c:v>
                </c:pt>
                <c:pt idx="16">
                  <c:v>14.11.20</c:v>
                </c:pt>
                <c:pt idx="17">
                  <c:v>15.11.20</c:v>
                </c:pt>
                <c:pt idx="18">
                  <c:v>16.11.20</c:v>
                </c:pt>
                <c:pt idx="19">
                  <c:v>17.11.20</c:v>
                </c:pt>
                <c:pt idx="20">
                  <c:v>18.11.20</c:v>
                </c:pt>
                <c:pt idx="21">
                  <c:v>19.11.20</c:v>
                </c:pt>
                <c:pt idx="22">
                  <c:v>20.11.20</c:v>
                </c:pt>
                <c:pt idx="23">
                  <c:v>21.11.20</c:v>
                </c:pt>
                <c:pt idx="24">
                  <c:v>22.11.20</c:v>
                </c:pt>
                <c:pt idx="25">
                  <c:v>23.11.20</c:v>
                </c:pt>
                <c:pt idx="26">
                  <c:v>24.11.20</c:v>
                </c:pt>
                <c:pt idx="27">
                  <c:v>25.11.20</c:v>
                </c:pt>
                <c:pt idx="28">
                  <c:v>26.11.20</c:v>
                </c:pt>
                <c:pt idx="29">
                  <c:v>27.11.20</c:v>
                </c:pt>
                <c:pt idx="30">
                  <c:v>28.11.20</c:v>
                </c:pt>
                <c:pt idx="31">
                  <c:v>29.11.20</c:v>
                </c:pt>
                <c:pt idx="32">
                  <c:v>30.11.20</c:v>
                </c:pt>
                <c:pt idx="33">
                  <c:v>01.12.20</c:v>
                </c:pt>
                <c:pt idx="34">
                  <c:v>02.12.20</c:v>
                </c:pt>
                <c:pt idx="35">
                  <c:v>03.12.20</c:v>
                </c:pt>
                <c:pt idx="36">
                  <c:v>04.12.20</c:v>
                </c:pt>
                <c:pt idx="37">
                  <c:v>05.12.20</c:v>
                </c:pt>
                <c:pt idx="38">
                  <c:v>06.12.20</c:v>
                </c:pt>
                <c:pt idx="39">
                  <c:v>07.12.20</c:v>
                </c:pt>
                <c:pt idx="40">
                  <c:v>08.12.20</c:v>
                </c:pt>
                <c:pt idx="41">
                  <c:v>09.12.20</c:v>
                </c:pt>
                <c:pt idx="42">
                  <c:v>10.12.20</c:v>
                </c:pt>
                <c:pt idx="43">
                  <c:v>11.12.20</c:v>
                </c:pt>
                <c:pt idx="44">
                  <c:v>12.12.20</c:v>
                </c:pt>
                <c:pt idx="45">
                  <c:v>13.12.20</c:v>
                </c:pt>
                <c:pt idx="46">
                  <c:v>14.12.20</c:v>
                </c:pt>
                <c:pt idx="47">
                  <c:v>15.12.20</c:v>
                </c:pt>
                <c:pt idx="48">
                  <c:v>16.12.20</c:v>
                </c:pt>
                <c:pt idx="49">
                  <c:v>17.12.20</c:v>
                </c:pt>
                <c:pt idx="50">
                  <c:v>18.12.20</c:v>
                </c:pt>
                <c:pt idx="51">
                  <c:v>19.12.20</c:v>
                </c:pt>
                <c:pt idx="52">
                  <c:v>20.12.20</c:v>
                </c:pt>
                <c:pt idx="53">
                  <c:v>21.12.20</c:v>
                </c:pt>
                <c:pt idx="54">
                  <c:v>22.12.20</c:v>
                </c:pt>
                <c:pt idx="55">
                  <c:v>23.12.20</c:v>
                </c:pt>
                <c:pt idx="56">
                  <c:v>24.12.20</c:v>
                </c:pt>
                <c:pt idx="57">
                  <c:v>25.12.20</c:v>
                </c:pt>
                <c:pt idx="58">
                  <c:v>26.12.20</c:v>
                </c:pt>
                <c:pt idx="59">
                  <c:v>27.12.20</c:v>
                </c:pt>
                <c:pt idx="60">
                  <c:v>28.12.20</c:v>
                </c:pt>
                <c:pt idx="61">
                  <c:v>29.12.20</c:v>
                </c:pt>
                <c:pt idx="62">
                  <c:v>30.12.20</c:v>
                </c:pt>
                <c:pt idx="63">
                  <c:v>31.12.20</c:v>
                </c:pt>
                <c:pt idx="64">
                  <c:v>01.01.21</c:v>
                </c:pt>
                <c:pt idx="65">
                  <c:v>02.01.21</c:v>
                </c:pt>
                <c:pt idx="66">
                  <c:v>03.01.21</c:v>
                </c:pt>
                <c:pt idx="67">
                  <c:v>04.01.21</c:v>
                </c:pt>
                <c:pt idx="68">
                  <c:v>05.01.21</c:v>
                </c:pt>
                <c:pt idx="69">
                  <c:v>06.01.21</c:v>
                </c:pt>
                <c:pt idx="70">
                  <c:v>07.01.21</c:v>
                </c:pt>
                <c:pt idx="71">
                  <c:v>08.01.21</c:v>
                </c:pt>
                <c:pt idx="72">
                  <c:v>09.01.21</c:v>
                </c:pt>
                <c:pt idx="73">
                  <c:v>10.01.21</c:v>
                </c:pt>
                <c:pt idx="74">
                  <c:v>11.01.21</c:v>
                </c:pt>
                <c:pt idx="75">
                  <c:v>12.01.21</c:v>
                </c:pt>
                <c:pt idx="76">
                  <c:v>13.01.21</c:v>
                </c:pt>
                <c:pt idx="77">
                  <c:v>14.01.21</c:v>
                </c:pt>
                <c:pt idx="78">
                  <c:v>15.01.21</c:v>
                </c:pt>
                <c:pt idx="79">
                  <c:v>16.01.21</c:v>
                </c:pt>
                <c:pt idx="80">
                  <c:v>17.01.21</c:v>
                </c:pt>
                <c:pt idx="81">
                  <c:v>18.01.21</c:v>
                </c:pt>
                <c:pt idx="82">
                  <c:v>19.01.21</c:v>
                </c:pt>
                <c:pt idx="83">
                  <c:v>20.01.21</c:v>
                </c:pt>
                <c:pt idx="84">
                  <c:v>21.01.21</c:v>
                </c:pt>
                <c:pt idx="85">
                  <c:v>22.01.21</c:v>
                </c:pt>
                <c:pt idx="86">
                  <c:v>23.01.21</c:v>
                </c:pt>
                <c:pt idx="87">
                  <c:v>24.01.21</c:v>
                </c:pt>
                <c:pt idx="88">
                  <c:v>25.01.21</c:v>
                </c:pt>
                <c:pt idx="89">
                  <c:v>26.01.21</c:v>
                </c:pt>
                <c:pt idx="90">
                  <c:v>27.01.21</c:v>
                </c:pt>
                <c:pt idx="91">
                  <c:v>28.01.21</c:v>
                </c:pt>
                <c:pt idx="92">
                  <c:v>29.01.21</c:v>
                </c:pt>
                <c:pt idx="93">
                  <c:v>30.01.21</c:v>
                </c:pt>
                <c:pt idx="94">
                  <c:v>31.01.21</c:v>
                </c:pt>
                <c:pt idx="95">
                  <c:v>01.02.21</c:v>
                </c:pt>
                <c:pt idx="96">
                  <c:v>02.02.21</c:v>
                </c:pt>
                <c:pt idx="97">
                  <c:v>03.02.21</c:v>
                </c:pt>
                <c:pt idx="98">
                  <c:v>04.02.21</c:v>
                </c:pt>
                <c:pt idx="99">
                  <c:v>05.02.21</c:v>
                </c:pt>
                <c:pt idx="100">
                  <c:v>06.02.21</c:v>
                </c:pt>
                <c:pt idx="101">
                  <c:v>07.02.21</c:v>
                </c:pt>
                <c:pt idx="102">
                  <c:v>08.02.21</c:v>
                </c:pt>
                <c:pt idx="103">
                  <c:v>09.02.21</c:v>
                </c:pt>
                <c:pt idx="104">
                  <c:v>10.02.21</c:v>
                </c:pt>
                <c:pt idx="105">
                  <c:v>11.02.21</c:v>
                </c:pt>
                <c:pt idx="106">
                  <c:v>12.02.21</c:v>
                </c:pt>
                <c:pt idx="107">
                  <c:v>13.02.21</c:v>
                </c:pt>
                <c:pt idx="108">
                  <c:v>14.02.21</c:v>
                </c:pt>
                <c:pt idx="109">
                  <c:v>15.02.21</c:v>
                </c:pt>
                <c:pt idx="110">
                  <c:v>16.02.21</c:v>
                </c:pt>
                <c:pt idx="111">
                  <c:v>17.02.21</c:v>
                </c:pt>
                <c:pt idx="112">
                  <c:v>18.02.21</c:v>
                </c:pt>
                <c:pt idx="113">
                  <c:v>19.02.21</c:v>
                </c:pt>
                <c:pt idx="114">
                  <c:v>20.02.21</c:v>
                </c:pt>
                <c:pt idx="115">
                  <c:v>21.02.21</c:v>
                </c:pt>
                <c:pt idx="116">
                  <c:v>22.02.21</c:v>
                </c:pt>
                <c:pt idx="117">
                  <c:v>23.02.21</c:v>
                </c:pt>
                <c:pt idx="118">
                  <c:v>24.02.21</c:v>
                </c:pt>
                <c:pt idx="119">
                  <c:v>25.02.21</c:v>
                </c:pt>
                <c:pt idx="120">
                  <c:v>26.02.21</c:v>
                </c:pt>
                <c:pt idx="121">
                  <c:v>27.02.21</c:v>
                </c:pt>
                <c:pt idx="122">
                  <c:v>28.02.21</c:v>
                </c:pt>
                <c:pt idx="123">
                  <c:v>01.03.21</c:v>
                </c:pt>
                <c:pt idx="124">
                  <c:v>02.03.21</c:v>
                </c:pt>
                <c:pt idx="125">
                  <c:v>03.03.21</c:v>
                </c:pt>
                <c:pt idx="126">
                  <c:v>04.03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140</c:v>
                </c:pt>
                <c:pt idx="1">
                  <c:v>119</c:v>
                </c:pt>
                <c:pt idx="2">
                  <c:v>97</c:v>
                </c:pt>
                <c:pt idx="3">
                  <c:v>38</c:v>
                </c:pt>
                <c:pt idx="4">
                  <c:v>140</c:v>
                </c:pt>
                <c:pt idx="5">
                  <c:v>105</c:v>
                </c:pt>
                <c:pt idx="6">
                  <c:v>145</c:v>
                </c:pt>
                <c:pt idx="7">
                  <c:v>82</c:v>
                </c:pt>
                <c:pt idx="8">
                  <c:v>77</c:v>
                </c:pt>
                <c:pt idx="9">
                  <c:v>44</c:v>
                </c:pt>
                <c:pt idx="10">
                  <c:v>23</c:v>
                </c:pt>
                <c:pt idx="11">
                  <c:v>75</c:v>
                </c:pt>
                <c:pt idx="12">
                  <c:v>89</c:v>
                </c:pt>
                <c:pt idx="13">
                  <c:v>62</c:v>
                </c:pt>
                <c:pt idx="14">
                  <c:v>50</c:v>
                </c:pt>
                <c:pt idx="15">
                  <c:v>57</c:v>
                </c:pt>
                <c:pt idx="16">
                  <c:v>31</c:v>
                </c:pt>
                <c:pt idx="17">
                  <c:v>17</c:v>
                </c:pt>
                <c:pt idx="18">
                  <c:v>74</c:v>
                </c:pt>
                <c:pt idx="19">
                  <c:v>30</c:v>
                </c:pt>
                <c:pt idx="20">
                  <c:v>70</c:v>
                </c:pt>
                <c:pt idx="21">
                  <c:v>50</c:v>
                </c:pt>
                <c:pt idx="22">
                  <c:v>50</c:v>
                </c:pt>
                <c:pt idx="23">
                  <c:v>26</c:v>
                </c:pt>
                <c:pt idx="24">
                  <c:v>19</c:v>
                </c:pt>
                <c:pt idx="25">
                  <c:v>62</c:v>
                </c:pt>
                <c:pt idx="26">
                  <c:v>51</c:v>
                </c:pt>
                <c:pt idx="27">
                  <c:v>46</c:v>
                </c:pt>
                <c:pt idx="28">
                  <c:v>56</c:v>
                </c:pt>
                <c:pt idx="29">
                  <c:v>49</c:v>
                </c:pt>
                <c:pt idx="30">
                  <c:v>28</c:v>
                </c:pt>
                <c:pt idx="31">
                  <c:v>19</c:v>
                </c:pt>
                <c:pt idx="32">
                  <c:v>70</c:v>
                </c:pt>
                <c:pt idx="33">
                  <c:v>62</c:v>
                </c:pt>
                <c:pt idx="34">
                  <c:v>53</c:v>
                </c:pt>
                <c:pt idx="35">
                  <c:v>50</c:v>
                </c:pt>
                <c:pt idx="36">
                  <c:v>68</c:v>
                </c:pt>
                <c:pt idx="37">
                  <c:v>31</c:v>
                </c:pt>
                <c:pt idx="38">
                  <c:v>29</c:v>
                </c:pt>
                <c:pt idx="39">
                  <c:v>81</c:v>
                </c:pt>
                <c:pt idx="40">
                  <c:v>81</c:v>
                </c:pt>
                <c:pt idx="41">
                  <c:v>74</c:v>
                </c:pt>
                <c:pt idx="42">
                  <c:v>76</c:v>
                </c:pt>
                <c:pt idx="43">
                  <c:v>72</c:v>
                </c:pt>
                <c:pt idx="44">
                  <c:v>43</c:v>
                </c:pt>
                <c:pt idx="45">
                  <c:v>25</c:v>
                </c:pt>
                <c:pt idx="46">
                  <c:v>84</c:v>
                </c:pt>
                <c:pt idx="47">
                  <c:v>111</c:v>
                </c:pt>
                <c:pt idx="48">
                  <c:v>72</c:v>
                </c:pt>
                <c:pt idx="49">
                  <c:v>94</c:v>
                </c:pt>
                <c:pt idx="50">
                  <c:v>105</c:v>
                </c:pt>
                <c:pt idx="51">
                  <c:v>45</c:v>
                </c:pt>
                <c:pt idx="52">
                  <c:v>53</c:v>
                </c:pt>
                <c:pt idx="53">
                  <c:v>141</c:v>
                </c:pt>
                <c:pt idx="54">
                  <c:v>126</c:v>
                </c:pt>
                <c:pt idx="55">
                  <c:v>184</c:v>
                </c:pt>
                <c:pt idx="56">
                  <c:v>58</c:v>
                </c:pt>
                <c:pt idx="57">
                  <c:v>44</c:v>
                </c:pt>
                <c:pt idx="58">
                  <c:v>47</c:v>
                </c:pt>
                <c:pt idx="59">
                  <c:v>72</c:v>
                </c:pt>
                <c:pt idx="60">
                  <c:v>162</c:v>
                </c:pt>
                <c:pt idx="61">
                  <c:v>121</c:v>
                </c:pt>
                <c:pt idx="62">
                  <c:v>110</c:v>
                </c:pt>
                <c:pt idx="63">
                  <c:v>111</c:v>
                </c:pt>
                <c:pt idx="64">
                  <c:v>44</c:v>
                </c:pt>
                <c:pt idx="65">
                  <c:v>49</c:v>
                </c:pt>
                <c:pt idx="66">
                  <c:v>74</c:v>
                </c:pt>
                <c:pt idx="67">
                  <c:v>163</c:v>
                </c:pt>
                <c:pt idx="68">
                  <c:v>128</c:v>
                </c:pt>
                <c:pt idx="69">
                  <c:v>97</c:v>
                </c:pt>
                <c:pt idx="70">
                  <c:v>83</c:v>
                </c:pt>
                <c:pt idx="71">
                  <c:v>82</c:v>
                </c:pt>
                <c:pt idx="72">
                  <c:v>49</c:v>
                </c:pt>
                <c:pt idx="73">
                  <c:v>34</c:v>
                </c:pt>
                <c:pt idx="74">
                  <c:v>78</c:v>
                </c:pt>
                <c:pt idx="75">
                  <c:v>72</c:v>
                </c:pt>
                <c:pt idx="76">
                  <c:v>74</c:v>
                </c:pt>
                <c:pt idx="77">
                  <c:v>55</c:v>
                </c:pt>
                <c:pt idx="78">
                  <c:v>70</c:v>
                </c:pt>
                <c:pt idx="79">
                  <c:v>43</c:v>
                </c:pt>
                <c:pt idx="80">
                  <c:v>21</c:v>
                </c:pt>
                <c:pt idx="81">
                  <c:v>79</c:v>
                </c:pt>
                <c:pt idx="82">
                  <c:v>54</c:v>
                </c:pt>
                <c:pt idx="83">
                  <c:v>53</c:v>
                </c:pt>
                <c:pt idx="84">
                  <c:v>49</c:v>
                </c:pt>
                <c:pt idx="85">
                  <c:v>67</c:v>
                </c:pt>
                <c:pt idx="86">
                  <c:v>29</c:v>
                </c:pt>
                <c:pt idx="87">
                  <c:v>9</c:v>
                </c:pt>
                <c:pt idx="88">
                  <c:v>41</c:v>
                </c:pt>
                <c:pt idx="89">
                  <c:v>45</c:v>
                </c:pt>
                <c:pt idx="90">
                  <c:v>42</c:v>
                </c:pt>
                <c:pt idx="91">
                  <c:v>42</c:v>
                </c:pt>
                <c:pt idx="92">
                  <c:v>35</c:v>
                </c:pt>
                <c:pt idx="93">
                  <c:v>19</c:v>
                </c:pt>
                <c:pt idx="94">
                  <c:v>23</c:v>
                </c:pt>
                <c:pt idx="95">
                  <c:v>40</c:v>
                </c:pt>
                <c:pt idx="96">
                  <c:v>33</c:v>
                </c:pt>
                <c:pt idx="97">
                  <c:v>27</c:v>
                </c:pt>
                <c:pt idx="98">
                  <c:v>39</c:v>
                </c:pt>
                <c:pt idx="99">
                  <c:v>24</c:v>
                </c:pt>
                <c:pt idx="100">
                  <c:v>13</c:v>
                </c:pt>
                <c:pt idx="101">
                  <c:v>13</c:v>
                </c:pt>
                <c:pt idx="102">
                  <c:v>19</c:v>
                </c:pt>
                <c:pt idx="103">
                  <c:v>24</c:v>
                </c:pt>
                <c:pt idx="104">
                  <c:v>30</c:v>
                </c:pt>
                <c:pt idx="105">
                  <c:v>25</c:v>
                </c:pt>
                <c:pt idx="106">
                  <c:v>29</c:v>
                </c:pt>
                <c:pt idx="107">
                  <c:v>11</c:v>
                </c:pt>
                <c:pt idx="108">
                  <c:v>7</c:v>
                </c:pt>
                <c:pt idx="109">
                  <c:v>23</c:v>
                </c:pt>
                <c:pt idx="110">
                  <c:v>33</c:v>
                </c:pt>
                <c:pt idx="111">
                  <c:v>13</c:v>
                </c:pt>
                <c:pt idx="112">
                  <c:v>26</c:v>
                </c:pt>
                <c:pt idx="113">
                  <c:v>23</c:v>
                </c:pt>
                <c:pt idx="114">
                  <c:v>15</c:v>
                </c:pt>
                <c:pt idx="115">
                  <c:v>8</c:v>
                </c:pt>
                <c:pt idx="116">
                  <c:v>32</c:v>
                </c:pt>
                <c:pt idx="117">
                  <c:v>30</c:v>
                </c:pt>
                <c:pt idx="118">
                  <c:v>25</c:v>
                </c:pt>
                <c:pt idx="119">
                  <c:v>36</c:v>
                </c:pt>
                <c:pt idx="120">
                  <c:v>33</c:v>
                </c:pt>
                <c:pt idx="121">
                  <c:v>22</c:v>
                </c:pt>
                <c:pt idx="122">
                  <c:v>19</c:v>
                </c:pt>
                <c:pt idx="123">
                  <c:v>28</c:v>
                </c:pt>
                <c:pt idx="124">
                  <c:v>39</c:v>
                </c:pt>
                <c:pt idx="125">
                  <c:v>36</c:v>
                </c:pt>
                <c:pt idx="126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8.8770528184642697E-4"/>
                  <c:y val="3.6269367278214289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9.10.20</c:v>
                </c:pt>
                <c:pt idx="1">
                  <c:v>30.10.20</c:v>
                </c:pt>
                <c:pt idx="2">
                  <c:v>31.10.20</c:v>
                </c:pt>
                <c:pt idx="3">
                  <c:v>01.11.20</c:v>
                </c:pt>
                <c:pt idx="4">
                  <c:v>02.11.20</c:v>
                </c:pt>
                <c:pt idx="5">
                  <c:v>03.11.20</c:v>
                </c:pt>
                <c:pt idx="6">
                  <c:v>04.11.20</c:v>
                </c:pt>
                <c:pt idx="7">
                  <c:v>05.11.20</c:v>
                </c:pt>
                <c:pt idx="8">
                  <c:v>06.11.20</c:v>
                </c:pt>
                <c:pt idx="9">
                  <c:v>07.11.20</c:v>
                </c:pt>
                <c:pt idx="10">
                  <c:v>08.11.20</c:v>
                </c:pt>
                <c:pt idx="11">
                  <c:v>09.11.20</c:v>
                </c:pt>
                <c:pt idx="12">
                  <c:v>10.11.20</c:v>
                </c:pt>
                <c:pt idx="13">
                  <c:v>11.11.20</c:v>
                </c:pt>
                <c:pt idx="14">
                  <c:v>12.11.20</c:v>
                </c:pt>
                <c:pt idx="15">
                  <c:v>13.11.20</c:v>
                </c:pt>
                <c:pt idx="16">
                  <c:v>14.11.20</c:v>
                </c:pt>
                <c:pt idx="17">
                  <c:v>15.11.20</c:v>
                </c:pt>
                <c:pt idx="18">
                  <c:v>16.11.20</c:v>
                </c:pt>
                <c:pt idx="19">
                  <c:v>17.11.20</c:v>
                </c:pt>
                <c:pt idx="20">
                  <c:v>18.11.20</c:v>
                </c:pt>
                <c:pt idx="21">
                  <c:v>19.11.20</c:v>
                </c:pt>
                <c:pt idx="22">
                  <c:v>20.11.20</c:v>
                </c:pt>
                <c:pt idx="23">
                  <c:v>21.11.20</c:v>
                </c:pt>
                <c:pt idx="24">
                  <c:v>22.11.20</c:v>
                </c:pt>
                <c:pt idx="25">
                  <c:v>23.11.20</c:v>
                </c:pt>
                <c:pt idx="26">
                  <c:v>24.11.20</c:v>
                </c:pt>
                <c:pt idx="27">
                  <c:v>25.11.20</c:v>
                </c:pt>
                <c:pt idx="28">
                  <c:v>26.11.20</c:v>
                </c:pt>
                <c:pt idx="29">
                  <c:v>27.11.20</c:v>
                </c:pt>
                <c:pt idx="30">
                  <c:v>28.11.20</c:v>
                </c:pt>
                <c:pt idx="31">
                  <c:v>29.11.20</c:v>
                </c:pt>
                <c:pt idx="32">
                  <c:v>30.11.20</c:v>
                </c:pt>
                <c:pt idx="33">
                  <c:v>01.12.20</c:v>
                </c:pt>
                <c:pt idx="34">
                  <c:v>02.12.20</c:v>
                </c:pt>
                <c:pt idx="35">
                  <c:v>03.12.20</c:v>
                </c:pt>
                <c:pt idx="36">
                  <c:v>04.12.20</c:v>
                </c:pt>
                <c:pt idx="37">
                  <c:v>05.12.20</c:v>
                </c:pt>
                <c:pt idx="38">
                  <c:v>06.12.20</c:v>
                </c:pt>
                <c:pt idx="39">
                  <c:v>07.12.20</c:v>
                </c:pt>
                <c:pt idx="40">
                  <c:v>08.12.20</c:v>
                </c:pt>
                <c:pt idx="41">
                  <c:v>09.12.20</c:v>
                </c:pt>
                <c:pt idx="42">
                  <c:v>10.12.20</c:v>
                </c:pt>
                <c:pt idx="43">
                  <c:v>11.12.20</c:v>
                </c:pt>
                <c:pt idx="44">
                  <c:v>12.12.20</c:v>
                </c:pt>
                <c:pt idx="45">
                  <c:v>13.12.20</c:v>
                </c:pt>
                <c:pt idx="46">
                  <c:v>14.12.20</c:v>
                </c:pt>
                <c:pt idx="47">
                  <c:v>15.12.20</c:v>
                </c:pt>
                <c:pt idx="48">
                  <c:v>16.12.20</c:v>
                </c:pt>
                <c:pt idx="49">
                  <c:v>17.12.20</c:v>
                </c:pt>
                <c:pt idx="50">
                  <c:v>18.12.20</c:v>
                </c:pt>
                <c:pt idx="51">
                  <c:v>19.12.20</c:v>
                </c:pt>
                <c:pt idx="52">
                  <c:v>20.12.20</c:v>
                </c:pt>
                <c:pt idx="53">
                  <c:v>21.12.20</c:v>
                </c:pt>
                <c:pt idx="54">
                  <c:v>22.12.20</c:v>
                </c:pt>
                <c:pt idx="55">
                  <c:v>23.12.20</c:v>
                </c:pt>
                <c:pt idx="56">
                  <c:v>24.12.20</c:v>
                </c:pt>
                <c:pt idx="57">
                  <c:v>25.12.20</c:v>
                </c:pt>
                <c:pt idx="58">
                  <c:v>26.12.20</c:v>
                </c:pt>
                <c:pt idx="59">
                  <c:v>27.12.20</c:v>
                </c:pt>
                <c:pt idx="60">
                  <c:v>28.12.20</c:v>
                </c:pt>
                <c:pt idx="61">
                  <c:v>29.12.20</c:v>
                </c:pt>
                <c:pt idx="62">
                  <c:v>30.12.20</c:v>
                </c:pt>
                <c:pt idx="63">
                  <c:v>31.12.20</c:v>
                </c:pt>
                <c:pt idx="64">
                  <c:v>01.01.21</c:v>
                </c:pt>
                <c:pt idx="65">
                  <c:v>02.01.21</c:v>
                </c:pt>
                <c:pt idx="66">
                  <c:v>03.01.21</c:v>
                </c:pt>
                <c:pt idx="67">
                  <c:v>04.01.21</c:v>
                </c:pt>
                <c:pt idx="68">
                  <c:v>05.01.21</c:v>
                </c:pt>
                <c:pt idx="69">
                  <c:v>06.01.21</c:v>
                </c:pt>
                <c:pt idx="70">
                  <c:v>07.01.21</c:v>
                </c:pt>
                <c:pt idx="71">
                  <c:v>08.01.21</c:v>
                </c:pt>
                <c:pt idx="72">
                  <c:v>09.01.21</c:v>
                </c:pt>
                <c:pt idx="73">
                  <c:v>10.01.21</c:v>
                </c:pt>
                <c:pt idx="74">
                  <c:v>11.01.21</c:v>
                </c:pt>
                <c:pt idx="75">
                  <c:v>12.01.21</c:v>
                </c:pt>
                <c:pt idx="76">
                  <c:v>13.01.21</c:v>
                </c:pt>
                <c:pt idx="77">
                  <c:v>14.01.21</c:v>
                </c:pt>
                <c:pt idx="78">
                  <c:v>15.01.21</c:v>
                </c:pt>
                <c:pt idx="79">
                  <c:v>16.01.21</c:v>
                </c:pt>
                <c:pt idx="80">
                  <c:v>17.01.21</c:v>
                </c:pt>
                <c:pt idx="81">
                  <c:v>18.01.21</c:v>
                </c:pt>
                <c:pt idx="82">
                  <c:v>19.01.21</c:v>
                </c:pt>
                <c:pt idx="83">
                  <c:v>20.01.21</c:v>
                </c:pt>
                <c:pt idx="84">
                  <c:v>21.01.21</c:v>
                </c:pt>
                <c:pt idx="85">
                  <c:v>22.01.21</c:v>
                </c:pt>
                <c:pt idx="86">
                  <c:v>23.01.21</c:v>
                </c:pt>
                <c:pt idx="87">
                  <c:v>24.01.21</c:v>
                </c:pt>
                <c:pt idx="88">
                  <c:v>25.01.21</c:v>
                </c:pt>
                <c:pt idx="89">
                  <c:v>26.01.21</c:v>
                </c:pt>
                <c:pt idx="90">
                  <c:v>27.01.21</c:v>
                </c:pt>
                <c:pt idx="91">
                  <c:v>28.01.21</c:v>
                </c:pt>
                <c:pt idx="92">
                  <c:v>29.01.21</c:v>
                </c:pt>
                <c:pt idx="93">
                  <c:v>30.01.21</c:v>
                </c:pt>
                <c:pt idx="94">
                  <c:v>31.01.21</c:v>
                </c:pt>
                <c:pt idx="95">
                  <c:v>01.02.21</c:v>
                </c:pt>
                <c:pt idx="96">
                  <c:v>02.02.21</c:v>
                </c:pt>
                <c:pt idx="97">
                  <c:v>03.02.21</c:v>
                </c:pt>
                <c:pt idx="98">
                  <c:v>04.02.21</c:v>
                </c:pt>
                <c:pt idx="99">
                  <c:v>05.02.21</c:v>
                </c:pt>
                <c:pt idx="100">
                  <c:v>06.02.21</c:v>
                </c:pt>
                <c:pt idx="101">
                  <c:v>07.02.21</c:v>
                </c:pt>
                <c:pt idx="102">
                  <c:v>08.02.21</c:v>
                </c:pt>
                <c:pt idx="103">
                  <c:v>09.02.21</c:v>
                </c:pt>
                <c:pt idx="104">
                  <c:v>10.02.21</c:v>
                </c:pt>
                <c:pt idx="105">
                  <c:v>11.02.21</c:v>
                </c:pt>
                <c:pt idx="106">
                  <c:v>12.02.21</c:v>
                </c:pt>
                <c:pt idx="107">
                  <c:v>13.02.21</c:v>
                </c:pt>
                <c:pt idx="108">
                  <c:v>14.02.21</c:v>
                </c:pt>
                <c:pt idx="109">
                  <c:v>15.02.21</c:v>
                </c:pt>
                <c:pt idx="110">
                  <c:v>16.02.21</c:v>
                </c:pt>
                <c:pt idx="111">
                  <c:v>17.02.21</c:v>
                </c:pt>
                <c:pt idx="112">
                  <c:v>18.02.21</c:v>
                </c:pt>
                <c:pt idx="113">
                  <c:v>19.02.21</c:v>
                </c:pt>
                <c:pt idx="114">
                  <c:v>20.02.21</c:v>
                </c:pt>
                <c:pt idx="115">
                  <c:v>21.02.21</c:v>
                </c:pt>
                <c:pt idx="116">
                  <c:v>22.02.21</c:v>
                </c:pt>
                <c:pt idx="117">
                  <c:v>23.02.21</c:v>
                </c:pt>
                <c:pt idx="118">
                  <c:v>24.02.21</c:v>
                </c:pt>
                <c:pt idx="119">
                  <c:v>25.02.21</c:v>
                </c:pt>
                <c:pt idx="120">
                  <c:v>26.02.21</c:v>
                </c:pt>
                <c:pt idx="121">
                  <c:v>27.02.21</c:v>
                </c:pt>
                <c:pt idx="122">
                  <c:v>28.02.21</c:v>
                </c:pt>
                <c:pt idx="123">
                  <c:v>01.03.21</c:v>
                </c:pt>
                <c:pt idx="124">
                  <c:v>02.03.21</c:v>
                </c:pt>
                <c:pt idx="125">
                  <c:v>03.03.21</c:v>
                </c:pt>
                <c:pt idx="126">
                  <c:v>04.03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446</c:v>
                </c:pt>
                <c:pt idx="1">
                  <c:v>480</c:v>
                </c:pt>
                <c:pt idx="2">
                  <c:v>299</c:v>
                </c:pt>
                <c:pt idx="3">
                  <c:v>177</c:v>
                </c:pt>
                <c:pt idx="4">
                  <c:v>381</c:v>
                </c:pt>
                <c:pt idx="5">
                  <c:v>440</c:v>
                </c:pt>
                <c:pt idx="6">
                  <c:v>479</c:v>
                </c:pt>
                <c:pt idx="7">
                  <c:v>360</c:v>
                </c:pt>
                <c:pt idx="8">
                  <c:v>329</c:v>
                </c:pt>
                <c:pt idx="9">
                  <c:v>169</c:v>
                </c:pt>
                <c:pt idx="10">
                  <c:v>60</c:v>
                </c:pt>
                <c:pt idx="11">
                  <c:v>265</c:v>
                </c:pt>
                <c:pt idx="12">
                  <c:v>311</c:v>
                </c:pt>
                <c:pt idx="13">
                  <c:v>250</c:v>
                </c:pt>
                <c:pt idx="14">
                  <c:v>255</c:v>
                </c:pt>
                <c:pt idx="15">
                  <c:v>215</c:v>
                </c:pt>
                <c:pt idx="16">
                  <c:v>111</c:v>
                </c:pt>
                <c:pt idx="17">
                  <c:v>73</c:v>
                </c:pt>
                <c:pt idx="18">
                  <c:v>242</c:v>
                </c:pt>
                <c:pt idx="19">
                  <c:v>136</c:v>
                </c:pt>
                <c:pt idx="20">
                  <c:v>231</c:v>
                </c:pt>
                <c:pt idx="21">
                  <c:v>230</c:v>
                </c:pt>
                <c:pt idx="22">
                  <c:v>190</c:v>
                </c:pt>
                <c:pt idx="23">
                  <c:v>93</c:v>
                </c:pt>
                <c:pt idx="24">
                  <c:v>49</c:v>
                </c:pt>
                <c:pt idx="25">
                  <c:v>213</c:v>
                </c:pt>
                <c:pt idx="26">
                  <c:v>245</c:v>
                </c:pt>
                <c:pt idx="27">
                  <c:v>178</c:v>
                </c:pt>
                <c:pt idx="28">
                  <c:v>153</c:v>
                </c:pt>
                <c:pt idx="29">
                  <c:v>144</c:v>
                </c:pt>
                <c:pt idx="30">
                  <c:v>69</c:v>
                </c:pt>
                <c:pt idx="31">
                  <c:v>35</c:v>
                </c:pt>
                <c:pt idx="32">
                  <c:v>163</c:v>
                </c:pt>
                <c:pt idx="33">
                  <c:v>195</c:v>
                </c:pt>
                <c:pt idx="34">
                  <c:v>170</c:v>
                </c:pt>
                <c:pt idx="35">
                  <c:v>213</c:v>
                </c:pt>
                <c:pt idx="36">
                  <c:v>161</c:v>
                </c:pt>
                <c:pt idx="37">
                  <c:v>108</c:v>
                </c:pt>
                <c:pt idx="38">
                  <c:v>61</c:v>
                </c:pt>
                <c:pt idx="39">
                  <c:v>246</c:v>
                </c:pt>
                <c:pt idx="40">
                  <c:v>211</c:v>
                </c:pt>
                <c:pt idx="41">
                  <c:v>203</c:v>
                </c:pt>
                <c:pt idx="42">
                  <c:v>179</c:v>
                </c:pt>
                <c:pt idx="43">
                  <c:v>194</c:v>
                </c:pt>
                <c:pt idx="44">
                  <c:v>89</c:v>
                </c:pt>
                <c:pt idx="45">
                  <c:v>65</c:v>
                </c:pt>
                <c:pt idx="46">
                  <c:v>229</c:v>
                </c:pt>
                <c:pt idx="47">
                  <c:v>217</c:v>
                </c:pt>
                <c:pt idx="48">
                  <c:v>202</c:v>
                </c:pt>
                <c:pt idx="49">
                  <c:v>162</c:v>
                </c:pt>
                <c:pt idx="50">
                  <c:v>223</c:v>
                </c:pt>
                <c:pt idx="51">
                  <c:v>111</c:v>
                </c:pt>
                <c:pt idx="52">
                  <c:v>104</c:v>
                </c:pt>
                <c:pt idx="53">
                  <c:v>273</c:v>
                </c:pt>
                <c:pt idx="54">
                  <c:v>294</c:v>
                </c:pt>
                <c:pt idx="55">
                  <c:v>293</c:v>
                </c:pt>
                <c:pt idx="56">
                  <c:v>88</c:v>
                </c:pt>
                <c:pt idx="57">
                  <c:v>78</c:v>
                </c:pt>
                <c:pt idx="58">
                  <c:v>115</c:v>
                </c:pt>
                <c:pt idx="59">
                  <c:v>121</c:v>
                </c:pt>
                <c:pt idx="60">
                  <c:v>331</c:v>
                </c:pt>
                <c:pt idx="61">
                  <c:v>385</c:v>
                </c:pt>
                <c:pt idx="62">
                  <c:v>356</c:v>
                </c:pt>
                <c:pt idx="63">
                  <c:v>248</c:v>
                </c:pt>
                <c:pt idx="64">
                  <c:v>80</c:v>
                </c:pt>
                <c:pt idx="65">
                  <c:v>137</c:v>
                </c:pt>
                <c:pt idx="66">
                  <c:v>155</c:v>
                </c:pt>
                <c:pt idx="67">
                  <c:v>377</c:v>
                </c:pt>
                <c:pt idx="68">
                  <c:v>373</c:v>
                </c:pt>
                <c:pt idx="69">
                  <c:v>337</c:v>
                </c:pt>
                <c:pt idx="70">
                  <c:v>270</c:v>
                </c:pt>
                <c:pt idx="71">
                  <c:v>240</c:v>
                </c:pt>
                <c:pt idx="72">
                  <c:v>126</c:v>
                </c:pt>
                <c:pt idx="73">
                  <c:v>74</c:v>
                </c:pt>
                <c:pt idx="74">
                  <c:v>269</c:v>
                </c:pt>
                <c:pt idx="75">
                  <c:v>226</c:v>
                </c:pt>
                <c:pt idx="76">
                  <c:v>189</c:v>
                </c:pt>
                <c:pt idx="77">
                  <c:v>155</c:v>
                </c:pt>
                <c:pt idx="78">
                  <c:v>197</c:v>
                </c:pt>
                <c:pt idx="79">
                  <c:v>87</c:v>
                </c:pt>
                <c:pt idx="80">
                  <c:v>45</c:v>
                </c:pt>
                <c:pt idx="81">
                  <c:v>190</c:v>
                </c:pt>
                <c:pt idx="82">
                  <c:v>208</c:v>
                </c:pt>
                <c:pt idx="83">
                  <c:v>171</c:v>
                </c:pt>
                <c:pt idx="84">
                  <c:v>144</c:v>
                </c:pt>
                <c:pt idx="85">
                  <c:v>136</c:v>
                </c:pt>
                <c:pt idx="86">
                  <c:v>65</c:v>
                </c:pt>
                <c:pt idx="87">
                  <c:v>43</c:v>
                </c:pt>
                <c:pt idx="88">
                  <c:v>151</c:v>
                </c:pt>
                <c:pt idx="89">
                  <c:v>166</c:v>
                </c:pt>
                <c:pt idx="90">
                  <c:v>108</c:v>
                </c:pt>
                <c:pt idx="91">
                  <c:v>124</c:v>
                </c:pt>
                <c:pt idx="92">
                  <c:v>102</c:v>
                </c:pt>
                <c:pt idx="93">
                  <c:v>53</c:v>
                </c:pt>
                <c:pt idx="94">
                  <c:v>31</c:v>
                </c:pt>
                <c:pt idx="95">
                  <c:v>122</c:v>
                </c:pt>
                <c:pt idx="96">
                  <c:v>111</c:v>
                </c:pt>
                <c:pt idx="97">
                  <c:v>124</c:v>
                </c:pt>
                <c:pt idx="98">
                  <c:v>102</c:v>
                </c:pt>
                <c:pt idx="99">
                  <c:v>104</c:v>
                </c:pt>
                <c:pt idx="100">
                  <c:v>50</c:v>
                </c:pt>
                <c:pt idx="101">
                  <c:v>28</c:v>
                </c:pt>
                <c:pt idx="102">
                  <c:v>116</c:v>
                </c:pt>
                <c:pt idx="103">
                  <c:v>110</c:v>
                </c:pt>
                <c:pt idx="104">
                  <c:v>97</c:v>
                </c:pt>
                <c:pt idx="105">
                  <c:v>105</c:v>
                </c:pt>
                <c:pt idx="106">
                  <c:v>95</c:v>
                </c:pt>
                <c:pt idx="107">
                  <c:v>45</c:v>
                </c:pt>
                <c:pt idx="108">
                  <c:v>28</c:v>
                </c:pt>
                <c:pt idx="109">
                  <c:v>118</c:v>
                </c:pt>
                <c:pt idx="110">
                  <c:v>115</c:v>
                </c:pt>
                <c:pt idx="111">
                  <c:v>109</c:v>
                </c:pt>
                <c:pt idx="112">
                  <c:v>109</c:v>
                </c:pt>
                <c:pt idx="113">
                  <c:v>118</c:v>
                </c:pt>
                <c:pt idx="114">
                  <c:v>55</c:v>
                </c:pt>
                <c:pt idx="115">
                  <c:v>34</c:v>
                </c:pt>
                <c:pt idx="116">
                  <c:v>123</c:v>
                </c:pt>
                <c:pt idx="117">
                  <c:v>149</c:v>
                </c:pt>
                <c:pt idx="118">
                  <c:v>130</c:v>
                </c:pt>
                <c:pt idx="119">
                  <c:v>118</c:v>
                </c:pt>
                <c:pt idx="120">
                  <c:v>141</c:v>
                </c:pt>
                <c:pt idx="121">
                  <c:v>74</c:v>
                </c:pt>
                <c:pt idx="122">
                  <c:v>36</c:v>
                </c:pt>
                <c:pt idx="123">
                  <c:v>124</c:v>
                </c:pt>
                <c:pt idx="124">
                  <c:v>133</c:v>
                </c:pt>
                <c:pt idx="125">
                  <c:v>110</c:v>
                </c:pt>
                <c:pt idx="126">
                  <c:v>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2.4035144741394675E-3"/>
                  <c:y val="2.612500240929354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0.111368653117717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9.10.20</c:v>
                </c:pt>
                <c:pt idx="1">
                  <c:v>30.10.20</c:v>
                </c:pt>
                <c:pt idx="2">
                  <c:v>31.10.20</c:v>
                </c:pt>
                <c:pt idx="3">
                  <c:v>01.11.20</c:v>
                </c:pt>
                <c:pt idx="4">
                  <c:v>02.11.20</c:v>
                </c:pt>
                <c:pt idx="5">
                  <c:v>03.11.20</c:v>
                </c:pt>
                <c:pt idx="6">
                  <c:v>04.11.20</c:v>
                </c:pt>
                <c:pt idx="7">
                  <c:v>05.11.20</c:v>
                </c:pt>
                <c:pt idx="8">
                  <c:v>06.11.20</c:v>
                </c:pt>
                <c:pt idx="9">
                  <c:v>07.11.20</c:v>
                </c:pt>
                <c:pt idx="10">
                  <c:v>08.11.20</c:v>
                </c:pt>
                <c:pt idx="11">
                  <c:v>09.11.20</c:v>
                </c:pt>
                <c:pt idx="12">
                  <c:v>10.11.20</c:v>
                </c:pt>
                <c:pt idx="13">
                  <c:v>11.11.20</c:v>
                </c:pt>
                <c:pt idx="14">
                  <c:v>12.11.20</c:v>
                </c:pt>
                <c:pt idx="15">
                  <c:v>13.11.20</c:v>
                </c:pt>
                <c:pt idx="16">
                  <c:v>14.11.20</c:v>
                </c:pt>
                <c:pt idx="17">
                  <c:v>15.11.20</c:v>
                </c:pt>
                <c:pt idx="18">
                  <c:v>16.11.20</c:v>
                </c:pt>
                <c:pt idx="19">
                  <c:v>17.11.20</c:v>
                </c:pt>
                <c:pt idx="20">
                  <c:v>18.11.20</c:v>
                </c:pt>
                <c:pt idx="21">
                  <c:v>19.11.20</c:v>
                </c:pt>
                <c:pt idx="22">
                  <c:v>20.11.20</c:v>
                </c:pt>
                <c:pt idx="23">
                  <c:v>21.11.20</c:v>
                </c:pt>
                <c:pt idx="24">
                  <c:v>22.11.20</c:v>
                </c:pt>
                <c:pt idx="25">
                  <c:v>23.11.20</c:v>
                </c:pt>
                <c:pt idx="26">
                  <c:v>24.11.20</c:v>
                </c:pt>
                <c:pt idx="27">
                  <c:v>25.11.20</c:v>
                </c:pt>
                <c:pt idx="28">
                  <c:v>26.11.20</c:v>
                </c:pt>
                <c:pt idx="29">
                  <c:v>27.11.20</c:v>
                </c:pt>
                <c:pt idx="30">
                  <c:v>28.11.20</c:v>
                </c:pt>
                <c:pt idx="31">
                  <c:v>29.11.20</c:v>
                </c:pt>
                <c:pt idx="32">
                  <c:v>30.11.20</c:v>
                </c:pt>
                <c:pt idx="33">
                  <c:v>01.12.20</c:v>
                </c:pt>
                <c:pt idx="34">
                  <c:v>02.12.20</c:v>
                </c:pt>
                <c:pt idx="35">
                  <c:v>03.12.20</c:v>
                </c:pt>
                <c:pt idx="36">
                  <c:v>04.12.20</c:v>
                </c:pt>
                <c:pt idx="37">
                  <c:v>05.12.20</c:v>
                </c:pt>
                <c:pt idx="38">
                  <c:v>06.12.20</c:v>
                </c:pt>
                <c:pt idx="39">
                  <c:v>07.12.20</c:v>
                </c:pt>
                <c:pt idx="40">
                  <c:v>08.12.20</c:v>
                </c:pt>
                <c:pt idx="41">
                  <c:v>09.12.20</c:v>
                </c:pt>
                <c:pt idx="42">
                  <c:v>10.12.20</c:v>
                </c:pt>
                <c:pt idx="43">
                  <c:v>11.12.20</c:v>
                </c:pt>
                <c:pt idx="44">
                  <c:v>12.12.20</c:v>
                </c:pt>
                <c:pt idx="45">
                  <c:v>13.12.20</c:v>
                </c:pt>
                <c:pt idx="46">
                  <c:v>14.12.20</c:v>
                </c:pt>
                <c:pt idx="47">
                  <c:v>15.12.20</c:v>
                </c:pt>
                <c:pt idx="48">
                  <c:v>16.12.20</c:v>
                </c:pt>
                <c:pt idx="49">
                  <c:v>17.12.20</c:v>
                </c:pt>
                <c:pt idx="50">
                  <c:v>18.12.20</c:v>
                </c:pt>
                <c:pt idx="51">
                  <c:v>19.12.20</c:v>
                </c:pt>
                <c:pt idx="52">
                  <c:v>20.12.20</c:v>
                </c:pt>
                <c:pt idx="53">
                  <c:v>21.12.20</c:v>
                </c:pt>
                <c:pt idx="54">
                  <c:v>22.12.20</c:v>
                </c:pt>
                <c:pt idx="55">
                  <c:v>23.12.20</c:v>
                </c:pt>
                <c:pt idx="56">
                  <c:v>24.12.20</c:v>
                </c:pt>
                <c:pt idx="57">
                  <c:v>25.12.20</c:v>
                </c:pt>
                <c:pt idx="58">
                  <c:v>26.12.20</c:v>
                </c:pt>
                <c:pt idx="59">
                  <c:v>27.12.20</c:v>
                </c:pt>
                <c:pt idx="60">
                  <c:v>28.12.20</c:v>
                </c:pt>
                <c:pt idx="61">
                  <c:v>29.12.20</c:v>
                </c:pt>
                <c:pt idx="62">
                  <c:v>30.12.20</c:v>
                </c:pt>
                <c:pt idx="63">
                  <c:v>31.12.20</c:v>
                </c:pt>
                <c:pt idx="64">
                  <c:v>01.01.21</c:v>
                </c:pt>
                <c:pt idx="65">
                  <c:v>02.01.21</c:v>
                </c:pt>
                <c:pt idx="66">
                  <c:v>03.01.21</c:v>
                </c:pt>
                <c:pt idx="67">
                  <c:v>04.01.21</c:v>
                </c:pt>
                <c:pt idx="68">
                  <c:v>05.01.21</c:v>
                </c:pt>
                <c:pt idx="69">
                  <c:v>06.01.21</c:v>
                </c:pt>
                <c:pt idx="70">
                  <c:v>07.01.21</c:v>
                </c:pt>
                <c:pt idx="71">
                  <c:v>08.01.21</c:v>
                </c:pt>
                <c:pt idx="72">
                  <c:v>09.01.21</c:v>
                </c:pt>
                <c:pt idx="73">
                  <c:v>10.01.21</c:v>
                </c:pt>
                <c:pt idx="74">
                  <c:v>11.01.21</c:v>
                </c:pt>
                <c:pt idx="75">
                  <c:v>12.01.21</c:v>
                </c:pt>
                <c:pt idx="76">
                  <c:v>13.01.21</c:v>
                </c:pt>
                <c:pt idx="77">
                  <c:v>14.01.21</c:v>
                </c:pt>
                <c:pt idx="78">
                  <c:v>15.01.21</c:v>
                </c:pt>
                <c:pt idx="79">
                  <c:v>16.01.21</c:v>
                </c:pt>
                <c:pt idx="80">
                  <c:v>17.01.21</c:v>
                </c:pt>
                <c:pt idx="81">
                  <c:v>18.01.21</c:v>
                </c:pt>
                <c:pt idx="82">
                  <c:v>19.01.21</c:v>
                </c:pt>
                <c:pt idx="83">
                  <c:v>20.01.21</c:v>
                </c:pt>
                <c:pt idx="84">
                  <c:v>21.01.21</c:v>
                </c:pt>
                <c:pt idx="85">
                  <c:v>22.01.21</c:v>
                </c:pt>
                <c:pt idx="86">
                  <c:v>23.01.21</c:v>
                </c:pt>
                <c:pt idx="87">
                  <c:v>24.01.21</c:v>
                </c:pt>
                <c:pt idx="88">
                  <c:v>25.01.21</c:v>
                </c:pt>
                <c:pt idx="89">
                  <c:v>26.01.21</c:v>
                </c:pt>
                <c:pt idx="90">
                  <c:v>27.01.21</c:v>
                </c:pt>
                <c:pt idx="91">
                  <c:v>28.01.21</c:v>
                </c:pt>
                <c:pt idx="92">
                  <c:v>29.01.21</c:v>
                </c:pt>
                <c:pt idx="93">
                  <c:v>30.01.21</c:v>
                </c:pt>
                <c:pt idx="94">
                  <c:v>31.01.21</c:v>
                </c:pt>
                <c:pt idx="95">
                  <c:v>01.02.21</c:v>
                </c:pt>
                <c:pt idx="96">
                  <c:v>02.02.21</c:v>
                </c:pt>
                <c:pt idx="97">
                  <c:v>03.02.21</c:v>
                </c:pt>
                <c:pt idx="98">
                  <c:v>04.02.21</c:v>
                </c:pt>
                <c:pt idx="99">
                  <c:v>05.02.21</c:v>
                </c:pt>
                <c:pt idx="100">
                  <c:v>06.02.21</c:v>
                </c:pt>
                <c:pt idx="101">
                  <c:v>07.02.21</c:v>
                </c:pt>
                <c:pt idx="102">
                  <c:v>08.02.21</c:v>
                </c:pt>
                <c:pt idx="103">
                  <c:v>09.02.21</c:v>
                </c:pt>
                <c:pt idx="104">
                  <c:v>10.02.21</c:v>
                </c:pt>
                <c:pt idx="105">
                  <c:v>11.02.21</c:v>
                </c:pt>
                <c:pt idx="106">
                  <c:v>12.02.21</c:v>
                </c:pt>
                <c:pt idx="107">
                  <c:v>13.02.21</c:v>
                </c:pt>
                <c:pt idx="108">
                  <c:v>14.02.21</c:v>
                </c:pt>
                <c:pt idx="109">
                  <c:v>15.02.21</c:v>
                </c:pt>
                <c:pt idx="110">
                  <c:v>16.02.21</c:v>
                </c:pt>
                <c:pt idx="111">
                  <c:v>17.02.21</c:v>
                </c:pt>
                <c:pt idx="112">
                  <c:v>18.02.21</c:v>
                </c:pt>
                <c:pt idx="113">
                  <c:v>19.02.21</c:v>
                </c:pt>
                <c:pt idx="114">
                  <c:v>20.02.21</c:v>
                </c:pt>
                <c:pt idx="115">
                  <c:v>21.02.21</c:v>
                </c:pt>
                <c:pt idx="116">
                  <c:v>22.02.21</c:v>
                </c:pt>
                <c:pt idx="117">
                  <c:v>23.02.21</c:v>
                </c:pt>
                <c:pt idx="118">
                  <c:v>24.02.21</c:v>
                </c:pt>
                <c:pt idx="119">
                  <c:v>25.02.21</c:v>
                </c:pt>
                <c:pt idx="120">
                  <c:v>26.02.21</c:v>
                </c:pt>
                <c:pt idx="121">
                  <c:v>27.02.21</c:v>
                </c:pt>
                <c:pt idx="122">
                  <c:v>28.02.21</c:v>
                </c:pt>
                <c:pt idx="123">
                  <c:v>01.03.21</c:v>
                </c:pt>
                <c:pt idx="124">
                  <c:v>02.03.21</c:v>
                </c:pt>
                <c:pt idx="125">
                  <c:v>03.03.21</c:v>
                </c:pt>
                <c:pt idx="126">
                  <c:v>04.03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391</c:v>
                </c:pt>
                <c:pt idx="1">
                  <c:v>401</c:v>
                </c:pt>
                <c:pt idx="2">
                  <c:v>281</c:v>
                </c:pt>
                <c:pt idx="3">
                  <c:v>129</c:v>
                </c:pt>
                <c:pt idx="4">
                  <c:v>311</c:v>
                </c:pt>
                <c:pt idx="5">
                  <c:v>355</c:v>
                </c:pt>
                <c:pt idx="6">
                  <c:v>390</c:v>
                </c:pt>
                <c:pt idx="7">
                  <c:v>308</c:v>
                </c:pt>
                <c:pt idx="8">
                  <c:v>276</c:v>
                </c:pt>
                <c:pt idx="9">
                  <c:v>171</c:v>
                </c:pt>
                <c:pt idx="10">
                  <c:v>61</c:v>
                </c:pt>
                <c:pt idx="11">
                  <c:v>204</c:v>
                </c:pt>
                <c:pt idx="12">
                  <c:v>240</c:v>
                </c:pt>
                <c:pt idx="13">
                  <c:v>238</c:v>
                </c:pt>
                <c:pt idx="14">
                  <c:v>235</c:v>
                </c:pt>
                <c:pt idx="15">
                  <c:v>196</c:v>
                </c:pt>
                <c:pt idx="16">
                  <c:v>86</c:v>
                </c:pt>
                <c:pt idx="17">
                  <c:v>47</c:v>
                </c:pt>
                <c:pt idx="18">
                  <c:v>171</c:v>
                </c:pt>
                <c:pt idx="19">
                  <c:v>127</c:v>
                </c:pt>
                <c:pt idx="20">
                  <c:v>174</c:v>
                </c:pt>
                <c:pt idx="21">
                  <c:v>161</c:v>
                </c:pt>
                <c:pt idx="22">
                  <c:v>174</c:v>
                </c:pt>
                <c:pt idx="23">
                  <c:v>91</c:v>
                </c:pt>
                <c:pt idx="24">
                  <c:v>32</c:v>
                </c:pt>
                <c:pt idx="25">
                  <c:v>126</c:v>
                </c:pt>
                <c:pt idx="26">
                  <c:v>157</c:v>
                </c:pt>
                <c:pt idx="27">
                  <c:v>127</c:v>
                </c:pt>
                <c:pt idx="28">
                  <c:v>120</c:v>
                </c:pt>
                <c:pt idx="29">
                  <c:v>108</c:v>
                </c:pt>
                <c:pt idx="30">
                  <c:v>49</c:v>
                </c:pt>
                <c:pt idx="31">
                  <c:v>26</c:v>
                </c:pt>
                <c:pt idx="32">
                  <c:v>133</c:v>
                </c:pt>
                <c:pt idx="33">
                  <c:v>173</c:v>
                </c:pt>
                <c:pt idx="34">
                  <c:v>134</c:v>
                </c:pt>
                <c:pt idx="35">
                  <c:v>125</c:v>
                </c:pt>
                <c:pt idx="36">
                  <c:v>126</c:v>
                </c:pt>
                <c:pt idx="37">
                  <c:v>85</c:v>
                </c:pt>
                <c:pt idx="38">
                  <c:v>34</c:v>
                </c:pt>
                <c:pt idx="39">
                  <c:v>165</c:v>
                </c:pt>
                <c:pt idx="40">
                  <c:v>159</c:v>
                </c:pt>
                <c:pt idx="41">
                  <c:v>170</c:v>
                </c:pt>
                <c:pt idx="42">
                  <c:v>124</c:v>
                </c:pt>
                <c:pt idx="43">
                  <c:v>175</c:v>
                </c:pt>
                <c:pt idx="44">
                  <c:v>81</c:v>
                </c:pt>
                <c:pt idx="45">
                  <c:v>41</c:v>
                </c:pt>
                <c:pt idx="46">
                  <c:v>168</c:v>
                </c:pt>
                <c:pt idx="47">
                  <c:v>176</c:v>
                </c:pt>
                <c:pt idx="48">
                  <c:v>180</c:v>
                </c:pt>
                <c:pt idx="49">
                  <c:v>160</c:v>
                </c:pt>
                <c:pt idx="50">
                  <c:v>173</c:v>
                </c:pt>
                <c:pt idx="51">
                  <c:v>93</c:v>
                </c:pt>
                <c:pt idx="52">
                  <c:v>65</c:v>
                </c:pt>
                <c:pt idx="53">
                  <c:v>198</c:v>
                </c:pt>
                <c:pt idx="54">
                  <c:v>221</c:v>
                </c:pt>
                <c:pt idx="55">
                  <c:v>270</c:v>
                </c:pt>
                <c:pt idx="56">
                  <c:v>90</c:v>
                </c:pt>
                <c:pt idx="57">
                  <c:v>61</c:v>
                </c:pt>
                <c:pt idx="58">
                  <c:v>71</c:v>
                </c:pt>
                <c:pt idx="59">
                  <c:v>99</c:v>
                </c:pt>
                <c:pt idx="60">
                  <c:v>262</c:v>
                </c:pt>
                <c:pt idx="61">
                  <c:v>330</c:v>
                </c:pt>
                <c:pt idx="62">
                  <c:v>333</c:v>
                </c:pt>
                <c:pt idx="63">
                  <c:v>246</c:v>
                </c:pt>
                <c:pt idx="64">
                  <c:v>58</c:v>
                </c:pt>
                <c:pt idx="65">
                  <c:v>119</c:v>
                </c:pt>
                <c:pt idx="66">
                  <c:v>86</c:v>
                </c:pt>
                <c:pt idx="67">
                  <c:v>310</c:v>
                </c:pt>
                <c:pt idx="68">
                  <c:v>300</c:v>
                </c:pt>
                <c:pt idx="69">
                  <c:v>299</c:v>
                </c:pt>
                <c:pt idx="70">
                  <c:v>263</c:v>
                </c:pt>
                <c:pt idx="71">
                  <c:v>226</c:v>
                </c:pt>
                <c:pt idx="72">
                  <c:v>116</c:v>
                </c:pt>
                <c:pt idx="73">
                  <c:v>67</c:v>
                </c:pt>
                <c:pt idx="74">
                  <c:v>183</c:v>
                </c:pt>
                <c:pt idx="75">
                  <c:v>205</c:v>
                </c:pt>
                <c:pt idx="76">
                  <c:v>223</c:v>
                </c:pt>
                <c:pt idx="77">
                  <c:v>142</c:v>
                </c:pt>
                <c:pt idx="78">
                  <c:v>189</c:v>
                </c:pt>
                <c:pt idx="79">
                  <c:v>81</c:v>
                </c:pt>
                <c:pt idx="80">
                  <c:v>31</c:v>
                </c:pt>
                <c:pt idx="81">
                  <c:v>192</c:v>
                </c:pt>
                <c:pt idx="82">
                  <c:v>192</c:v>
                </c:pt>
                <c:pt idx="83">
                  <c:v>124</c:v>
                </c:pt>
                <c:pt idx="84">
                  <c:v>153</c:v>
                </c:pt>
                <c:pt idx="85">
                  <c:v>151</c:v>
                </c:pt>
                <c:pt idx="86">
                  <c:v>66</c:v>
                </c:pt>
                <c:pt idx="87">
                  <c:v>47</c:v>
                </c:pt>
                <c:pt idx="88">
                  <c:v>138</c:v>
                </c:pt>
                <c:pt idx="89">
                  <c:v>143</c:v>
                </c:pt>
                <c:pt idx="90">
                  <c:v>153</c:v>
                </c:pt>
                <c:pt idx="91">
                  <c:v>130</c:v>
                </c:pt>
                <c:pt idx="92">
                  <c:v>98</c:v>
                </c:pt>
                <c:pt idx="93">
                  <c:v>54</c:v>
                </c:pt>
                <c:pt idx="94">
                  <c:v>43</c:v>
                </c:pt>
                <c:pt idx="95">
                  <c:v>111</c:v>
                </c:pt>
                <c:pt idx="96">
                  <c:v>132</c:v>
                </c:pt>
                <c:pt idx="97">
                  <c:v>141</c:v>
                </c:pt>
                <c:pt idx="98">
                  <c:v>87</c:v>
                </c:pt>
                <c:pt idx="99">
                  <c:v>103</c:v>
                </c:pt>
                <c:pt idx="100">
                  <c:v>43</c:v>
                </c:pt>
                <c:pt idx="101">
                  <c:v>29</c:v>
                </c:pt>
                <c:pt idx="102">
                  <c:v>110</c:v>
                </c:pt>
                <c:pt idx="103">
                  <c:v>133</c:v>
                </c:pt>
                <c:pt idx="104">
                  <c:v>118</c:v>
                </c:pt>
                <c:pt idx="105">
                  <c:v>90</c:v>
                </c:pt>
                <c:pt idx="106">
                  <c:v>101</c:v>
                </c:pt>
                <c:pt idx="107">
                  <c:v>47</c:v>
                </c:pt>
                <c:pt idx="108">
                  <c:v>19</c:v>
                </c:pt>
                <c:pt idx="109">
                  <c:v>115</c:v>
                </c:pt>
                <c:pt idx="110">
                  <c:v>109</c:v>
                </c:pt>
                <c:pt idx="111">
                  <c:v>123</c:v>
                </c:pt>
                <c:pt idx="112">
                  <c:v>114</c:v>
                </c:pt>
                <c:pt idx="113">
                  <c:v>100</c:v>
                </c:pt>
                <c:pt idx="114">
                  <c:v>53</c:v>
                </c:pt>
                <c:pt idx="115">
                  <c:v>25</c:v>
                </c:pt>
                <c:pt idx="116">
                  <c:v>110</c:v>
                </c:pt>
                <c:pt idx="117">
                  <c:v>140</c:v>
                </c:pt>
                <c:pt idx="118">
                  <c:v>118</c:v>
                </c:pt>
                <c:pt idx="119">
                  <c:v>130</c:v>
                </c:pt>
                <c:pt idx="120">
                  <c:v>128</c:v>
                </c:pt>
                <c:pt idx="121">
                  <c:v>71</c:v>
                </c:pt>
                <c:pt idx="122">
                  <c:v>29</c:v>
                </c:pt>
                <c:pt idx="123">
                  <c:v>133</c:v>
                </c:pt>
                <c:pt idx="124">
                  <c:v>148</c:v>
                </c:pt>
                <c:pt idx="125">
                  <c:v>144</c:v>
                </c:pt>
                <c:pt idx="126">
                  <c:v>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799053434185385E-2"/>
          <c:y val="2.2410741472614397E-2"/>
          <c:w val="0.77470892408029468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8.315660605806640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28</c:f>
              <c:numCache>
                <c:formatCode>dd/mm/yy;@</c:formatCode>
                <c:ptCount val="127"/>
                <c:pt idx="0">
                  <c:v>44133</c:v>
                </c:pt>
                <c:pt idx="1">
                  <c:v>44134</c:v>
                </c:pt>
                <c:pt idx="2">
                  <c:v>44135</c:v>
                </c:pt>
                <c:pt idx="3">
                  <c:v>44136</c:v>
                </c:pt>
                <c:pt idx="4">
                  <c:v>44137</c:v>
                </c:pt>
                <c:pt idx="5">
                  <c:v>44138</c:v>
                </c:pt>
                <c:pt idx="6">
                  <c:v>44139</c:v>
                </c:pt>
                <c:pt idx="7">
                  <c:v>44140</c:v>
                </c:pt>
                <c:pt idx="8">
                  <c:v>44141</c:v>
                </c:pt>
                <c:pt idx="9">
                  <c:v>44142</c:v>
                </c:pt>
                <c:pt idx="10">
                  <c:v>44143</c:v>
                </c:pt>
                <c:pt idx="11">
                  <c:v>44144</c:v>
                </c:pt>
                <c:pt idx="12">
                  <c:v>44145</c:v>
                </c:pt>
                <c:pt idx="13">
                  <c:v>44146</c:v>
                </c:pt>
                <c:pt idx="14">
                  <c:v>44147</c:v>
                </c:pt>
                <c:pt idx="15">
                  <c:v>44148</c:v>
                </c:pt>
                <c:pt idx="16">
                  <c:v>44149</c:v>
                </c:pt>
                <c:pt idx="17">
                  <c:v>44150</c:v>
                </c:pt>
                <c:pt idx="18">
                  <c:v>44151</c:v>
                </c:pt>
                <c:pt idx="19">
                  <c:v>44152</c:v>
                </c:pt>
                <c:pt idx="20">
                  <c:v>44153</c:v>
                </c:pt>
                <c:pt idx="21">
                  <c:v>44154</c:v>
                </c:pt>
                <c:pt idx="22">
                  <c:v>44155</c:v>
                </c:pt>
                <c:pt idx="23">
                  <c:v>44156</c:v>
                </c:pt>
                <c:pt idx="24">
                  <c:v>44157</c:v>
                </c:pt>
                <c:pt idx="25">
                  <c:v>44158</c:v>
                </c:pt>
                <c:pt idx="26">
                  <c:v>44159</c:v>
                </c:pt>
                <c:pt idx="27">
                  <c:v>44160</c:v>
                </c:pt>
                <c:pt idx="28">
                  <c:v>44161</c:v>
                </c:pt>
                <c:pt idx="29">
                  <c:v>44162</c:v>
                </c:pt>
                <c:pt idx="30">
                  <c:v>44163</c:v>
                </c:pt>
                <c:pt idx="31">
                  <c:v>44164</c:v>
                </c:pt>
                <c:pt idx="32">
                  <c:v>44165</c:v>
                </c:pt>
                <c:pt idx="33">
                  <c:v>44166</c:v>
                </c:pt>
                <c:pt idx="34">
                  <c:v>44167</c:v>
                </c:pt>
                <c:pt idx="35">
                  <c:v>44168</c:v>
                </c:pt>
                <c:pt idx="36">
                  <c:v>44169</c:v>
                </c:pt>
                <c:pt idx="37">
                  <c:v>44170</c:v>
                </c:pt>
                <c:pt idx="38">
                  <c:v>44171</c:v>
                </c:pt>
                <c:pt idx="39">
                  <c:v>44172</c:v>
                </c:pt>
                <c:pt idx="40">
                  <c:v>44173</c:v>
                </c:pt>
                <c:pt idx="41">
                  <c:v>44174</c:v>
                </c:pt>
                <c:pt idx="42">
                  <c:v>44175</c:v>
                </c:pt>
                <c:pt idx="43">
                  <c:v>44176</c:v>
                </c:pt>
                <c:pt idx="44">
                  <c:v>44177</c:v>
                </c:pt>
                <c:pt idx="45">
                  <c:v>44178</c:v>
                </c:pt>
                <c:pt idx="46">
                  <c:v>44179</c:v>
                </c:pt>
                <c:pt idx="47">
                  <c:v>44180</c:v>
                </c:pt>
                <c:pt idx="48">
                  <c:v>44181</c:v>
                </c:pt>
                <c:pt idx="49">
                  <c:v>44182</c:v>
                </c:pt>
                <c:pt idx="50">
                  <c:v>44183</c:v>
                </c:pt>
                <c:pt idx="51">
                  <c:v>44184</c:v>
                </c:pt>
                <c:pt idx="52">
                  <c:v>44185</c:v>
                </c:pt>
                <c:pt idx="53">
                  <c:v>44186</c:v>
                </c:pt>
                <c:pt idx="54">
                  <c:v>44187</c:v>
                </c:pt>
                <c:pt idx="55">
                  <c:v>44188</c:v>
                </c:pt>
                <c:pt idx="56">
                  <c:v>44189</c:v>
                </c:pt>
                <c:pt idx="57">
                  <c:v>44190</c:v>
                </c:pt>
                <c:pt idx="58">
                  <c:v>44191</c:v>
                </c:pt>
                <c:pt idx="59">
                  <c:v>44192</c:v>
                </c:pt>
                <c:pt idx="60">
                  <c:v>44193</c:v>
                </c:pt>
                <c:pt idx="61">
                  <c:v>44194</c:v>
                </c:pt>
                <c:pt idx="62">
                  <c:v>44195</c:v>
                </c:pt>
                <c:pt idx="63">
                  <c:v>44196</c:v>
                </c:pt>
                <c:pt idx="64">
                  <c:v>44197</c:v>
                </c:pt>
                <c:pt idx="65">
                  <c:v>44198</c:v>
                </c:pt>
                <c:pt idx="66">
                  <c:v>44199</c:v>
                </c:pt>
                <c:pt idx="67">
                  <c:v>44200</c:v>
                </c:pt>
                <c:pt idx="68">
                  <c:v>44201</c:v>
                </c:pt>
                <c:pt idx="69">
                  <c:v>44202</c:v>
                </c:pt>
                <c:pt idx="70">
                  <c:v>44203</c:v>
                </c:pt>
                <c:pt idx="71">
                  <c:v>44204</c:v>
                </c:pt>
                <c:pt idx="72">
                  <c:v>44205</c:v>
                </c:pt>
                <c:pt idx="73">
                  <c:v>44206</c:v>
                </c:pt>
                <c:pt idx="74">
                  <c:v>44207</c:v>
                </c:pt>
                <c:pt idx="75">
                  <c:v>44208</c:v>
                </c:pt>
                <c:pt idx="76">
                  <c:v>44209</c:v>
                </c:pt>
                <c:pt idx="77">
                  <c:v>44210</c:v>
                </c:pt>
                <c:pt idx="78">
                  <c:v>44211</c:v>
                </c:pt>
                <c:pt idx="79">
                  <c:v>44212</c:v>
                </c:pt>
                <c:pt idx="80">
                  <c:v>44213</c:v>
                </c:pt>
                <c:pt idx="81">
                  <c:v>44214</c:v>
                </c:pt>
                <c:pt idx="82">
                  <c:v>44215</c:v>
                </c:pt>
                <c:pt idx="83">
                  <c:v>44216</c:v>
                </c:pt>
                <c:pt idx="84">
                  <c:v>44217</c:v>
                </c:pt>
                <c:pt idx="85">
                  <c:v>44218</c:v>
                </c:pt>
                <c:pt idx="86">
                  <c:v>44219</c:v>
                </c:pt>
                <c:pt idx="87">
                  <c:v>44220</c:v>
                </c:pt>
                <c:pt idx="88">
                  <c:v>44221</c:v>
                </c:pt>
                <c:pt idx="89">
                  <c:v>44222</c:v>
                </c:pt>
                <c:pt idx="90">
                  <c:v>44223</c:v>
                </c:pt>
                <c:pt idx="91">
                  <c:v>44224</c:v>
                </c:pt>
                <c:pt idx="92">
                  <c:v>44225</c:v>
                </c:pt>
                <c:pt idx="93">
                  <c:v>44226</c:v>
                </c:pt>
                <c:pt idx="94">
                  <c:v>44227</c:v>
                </c:pt>
                <c:pt idx="95">
                  <c:v>44228</c:v>
                </c:pt>
                <c:pt idx="96">
                  <c:v>44229</c:v>
                </c:pt>
                <c:pt idx="97">
                  <c:v>44230</c:v>
                </c:pt>
                <c:pt idx="98">
                  <c:v>44231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38</c:v>
                </c:pt>
                <c:pt idx="106">
                  <c:v>44239</c:v>
                </c:pt>
                <c:pt idx="107">
                  <c:v>44240</c:v>
                </c:pt>
                <c:pt idx="108">
                  <c:v>44241</c:v>
                </c:pt>
                <c:pt idx="109">
                  <c:v>44242</c:v>
                </c:pt>
                <c:pt idx="110">
                  <c:v>44243</c:v>
                </c:pt>
                <c:pt idx="111">
                  <c:v>44244</c:v>
                </c:pt>
                <c:pt idx="112">
                  <c:v>44245</c:v>
                </c:pt>
                <c:pt idx="113">
                  <c:v>44246</c:v>
                </c:pt>
                <c:pt idx="114">
                  <c:v>44247</c:v>
                </c:pt>
                <c:pt idx="115">
                  <c:v>44248</c:v>
                </c:pt>
                <c:pt idx="116">
                  <c:v>44249</c:v>
                </c:pt>
                <c:pt idx="117">
                  <c:v>44250</c:v>
                </c:pt>
                <c:pt idx="118">
                  <c:v>44251</c:v>
                </c:pt>
                <c:pt idx="119">
                  <c:v>44252</c:v>
                </c:pt>
                <c:pt idx="120">
                  <c:v>44253</c:v>
                </c:pt>
                <c:pt idx="121">
                  <c:v>44254</c:v>
                </c:pt>
                <c:pt idx="122">
                  <c:v>44255</c:v>
                </c:pt>
                <c:pt idx="123">
                  <c:v>44256</c:v>
                </c:pt>
                <c:pt idx="124">
                  <c:v>44257</c:v>
                </c:pt>
                <c:pt idx="125">
                  <c:v>44258</c:v>
                </c:pt>
                <c:pt idx="126">
                  <c:v>44259</c:v>
                </c:pt>
              </c:numCache>
            </c:numRef>
          </c:cat>
          <c:val>
            <c:numRef>
              <c:f>List1!$B$2:$B$128</c:f>
              <c:numCache>
                <c:formatCode>General</c:formatCode>
                <c:ptCount val="127"/>
                <c:pt idx="0">
                  <c:v>2963</c:v>
                </c:pt>
                <c:pt idx="1">
                  <c:v>3091</c:v>
                </c:pt>
                <c:pt idx="2">
                  <c:v>3003</c:v>
                </c:pt>
                <c:pt idx="3">
                  <c:v>2843</c:v>
                </c:pt>
                <c:pt idx="4">
                  <c:v>2848</c:v>
                </c:pt>
                <c:pt idx="5">
                  <c:v>2770</c:v>
                </c:pt>
                <c:pt idx="6">
                  <c:v>2953</c:v>
                </c:pt>
                <c:pt idx="7">
                  <c:v>3119</c:v>
                </c:pt>
                <c:pt idx="8">
                  <c:v>2934</c:v>
                </c:pt>
                <c:pt idx="9">
                  <c:v>2685</c:v>
                </c:pt>
                <c:pt idx="10">
                  <c:v>2582</c:v>
                </c:pt>
                <c:pt idx="11">
                  <c:v>2426</c:v>
                </c:pt>
                <c:pt idx="12">
                  <c:v>2282</c:v>
                </c:pt>
                <c:pt idx="13">
                  <c:v>2391</c:v>
                </c:pt>
                <c:pt idx="14">
                  <c:v>2509</c:v>
                </c:pt>
                <c:pt idx="15">
                  <c:v>2406</c:v>
                </c:pt>
                <c:pt idx="16">
                  <c:v>2203</c:v>
                </c:pt>
                <c:pt idx="17">
                  <c:v>1961</c:v>
                </c:pt>
                <c:pt idx="18">
                  <c:v>1910</c:v>
                </c:pt>
                <c:pt idx="19">
                  <c:v>1751</c:v>
                </c:pt>
                <c:pt idx="20">
                  <c:v>1849</c:v>
                </c:pt>
                <c:pt idx="21">
                  <c:v>1917</c:v>
                </c:pt>
                <c:pt idx="22">
                  <c:v>1859</c:v>
                </c:pt>
                <c:pt idx="23">
                  <c:v>1605</c:v>
                </c:pt>
                <c:pt idx="24">
                  <c:v>1422</c:v>
                </c:pt>
                <c:pt idx="25">
                  <c:v>1396</c:v>
                </c:pt>
                <c:pt idx="26">
                  <c:v>1333</c:v>
                </c:pt>
                <c:pt idx="27">
                  <c:v>1356</c:v>
                </c:pt>
                <c:pt idx="28">
                  <c:v>1374</c:v>
                </c:pt>
                <c:pt idx="29">
                  <c:v>1328</c:v>
                </c:pt>
                <c:pt idx="30">
                  <c:v>1292</c:v>
                </c:pt>
                <c:pt idx="31">
                  <c:v>1145</c:v>
                </c:pt>
                <c:pt idx="32">
                  <c:v>1124</c:v>
                </c:pt>
                <c:pt idx="33">
                  <c:v>1114</c:v>
                </c:pt>
                <c:pt idx="34">
                  <c:v>1156</c:v>
                </c:pt>
                <c:pt idx="35">
                  <c:v>1191</c:v>
                </c:pt>
                <c:pt idx="36">
                  <c:v>1119</c:v>
                </c:pt>
                <c:pt idx="37">
                  <c:v>1056</c:v>
                </c:pt>
                <c:pt idx="38">
                  <c:v>982</c:v>
                </c:pt>
                <c:pt idx="39">
                  <c:v>1043</c:v>
                </c:pt>
                <c:pt idx="40">
                  <c:v>1028</c:v>
                </c:pt>
                <c:pt idx="41">
                  <c:v>1065</c:v>
                </c:pt>
                <c:pt idx="42">
                  <c:v>1111</c:v>
                </c:pt>
                <c:pt idx="43">
                  <c:v>1088</c:v>
                </c:pt>
                <c:pt idx="44">
                  <c:v>1017</c:v>
                </c:pt>
                <c:pt idx="45">
                  <c:v>973</c:v>
                </c:pt>
                <c:pt idx="46">
                  <c:v>1011</c:v>
                </c:pt>
                <c:pt idx="47">
                  <c:v>1009</c:v>
                </c:pt>
                <c:pt idx="48">
                  <c:v>1076</c:v>
                </c:pt>
                <c:pt idx="49">
                  <c:v>1106</c:v>
                </c:pt>
                <c:pt idx="50">
                  <c:v>1041</c:v>
                </c:pt>
                <c:pt idx="51">
                  <c:v>986</c:v>
                </c:pt>
                <c:pt idx="52">
                  <c:v>933</c:v>
                </c:pt>
                <c:pt idx="53">
                  <c:v>1028</c:v>
                </c:pt>
                <c:pt idx="54">
                  <c:v>1069</c:v>
                </c:pt>
                <c:pt idx="55">
                  <c:v>1152</c:v>
                </c:pt>
                <c:pt idx="56">
                  <c:v>1166</c:v>
                </c:pt>
                <c:pt idx="57">
                  <c:v>1109</c:v>
                </c:pt>
                <c:pt idx="58">
                  <c:v>1066</c:v>
                </c:pt>
                <c:pt idx="59">
                  <c:v>1033</c:v>
                </c:pt>
                <c:pt idx="60">
                  <c:v>1141</c:v>
                </c:pt>
                <c:pt idx="61">
                  <c:v>1223</c:v>
                </c:pt>
                <c:pt idx="62">
                  <c:v>1298</c:v>
                </c:pt>
                <c:pt idx="63">
                  <c:v>1360</c:v>
                </c:pt>
                <c:pt idx="64">
                  <c:v>1265</c:v>
                </c:pt>
                <c:pt idx="65">
                  <c:v>1192</c:v>
                </c:pt>
                <c:pt idx="66">
                  <c:v>1124</c:v>
                </c:pt>
                <c:pt idx="67">
                  <c:v>1358</c:v>
                </c:pt>
                <c:pt idx="68">
                  <c:v>1472</c:v>
                </c:pt>
                <c:pt idx="69">
                  <c:v>1543</c:v>
                </c:pt>
                <c:pt idx="70">
                  <c:v>1601</c:v>
                </c:pt>
                <c:pt idx="71">
                  <c:v>1499</c:v>
                </c:pt>
                <c:pt idx="72">
                  <c:v>1382</c:v>
                </c:pt>
                <c:pt idx="73">
                  <c:v>1265</c:v>
                </c:pt>
                <c:pt idx="74">
                  <c:v>1388</c:v>
                </c:pt>
                <c:pt idx="75">
                  <c:v>1469</c:v>
                </c:pt>
                <c:pt idx="76">
                  <c:v>1539</c:v>
                </c:pt>
                <c:pt idx="77">
                  <c:v>1537</c:v>
                </c:pt>
                <c:pt idx="78">
                  <c:v>1396</c:v>
                </c:pt>
                <c:pt idx="79">
                  <c:v>1254</c:v>
                </c:pt>
                <c:pt idx="80">
                  <c:v>1145</c:v>
                </c:pt>
                <c:pt idx="81">
                  <c:v>1138</c:v>
                </c:pt>
                <c:pt idx="82">
                  <c:v>1086</c:v>
                </c:pt>
                <c:pt idx="83">
                  <c:v>1119</c:v>
                </c:pt>
                <c:pt idx="84">
                  <c:v>1145</c:v>
                </c:pt>
                <c:pt idx="85">
                  <c:v>1046</c:v>
                </c:pt>
                <c:pt idx="86">
                  <c:v>970</c:v>
                </c:pt>
                <c:pt idx="87">
                  <c:v>860</c:v>
                </c:pt>
                <c:pt idx="88">
                  <c:v>870</c:v>
                </c:pt>
                <c:pt idx="89">
                  <c:v>871</c:v>
                </c:pt>
                <c:pt idx="90">
                  <c:v>894</c:v>
                </c:pt>
                <c:pt idx="91">
                  <c:v>906</c:v>
                </c:pt>
                <c:pt idx="92">
                  <c:v>821</c:v>
                </c:pt>
                <c:pt idx="93">
                  <c:v>754</c:v>
                </c:pt>
                <c:pt idx="94">
                  <c:v>677</c:v>
                </c:pt>
                <c:pt idx="95">
                  <c:v>695</c:v>
                </c:pt>
                <c:pt idx="96">
                  <c:v>688</c:v>
                </c:pt>
                <c:pt idx="97">
                  <c:v>722</c:v>
                </c:pt>
                <c:pt idx="98">
                  <c:v>742</c:v>
                </c:pt>
                <c:pt idx="99">
                  <c:v>685</c:v>
                </c:pt>
                <c:pt idx="100">
                  <c:v>618</c:v>
                </c:pt>
                <c:pt idx="101">
                  <c:v>575</c:v>
                </c:pt>
                <c:pt idx="102">
                  <c:v>593</c:v>
                </c:pt>
                <c:pt idx="103">
                  <c:v>561</c:v>
                </c:pt>
                <c:pt idx="104">
                  <c:v>576</c:v>
                </c:pt>
                <c:pt idx="105">
                  <c:v>602</c:v>
                </c:pt>
                <c:pt idx="106">
                  <c:v>562</c:v>
                </c:pt>
                <c:pt idx="107">
                  <c:v>501</c:v>
                </c:pt>
                <c:pt idx="108">
                  <c:v>446</c:v>
                </c:pt>
                <c:pt idx="109">
                  <c:v>462</c:v>
                </c:pt>
                <c:pt idx="110">
                  <c:v>448</c:v>
                </c:pt>
                <c:pt idx="111">
                  <c:v>465</c:v>
                </c:pt>
                <c:pt idx="112">
                  <c:v>473</c:v>
                </c:pt>
                <c:pt idx="113">
                  <c:v>440</c:v>
                </c:pt>
                <c:pt idx="114">
                  <c:v>405</c:v>
                </c:pt>
                <c:pt idx="115">
                  <c:v>372</c:v>
                </c:pt>
                <c:pt idx="116">
                  <c:v>392</c:v>
                </c:pt>
                <c:pt idx="117">
                  <c:v>414</c:v>
                </c:pt>
                <c:pt idx="118">
                  <c:v>436</c:v>
                </c:pt>
                <c:pt idx="119">
                  <c:v>463</c:v>
                </c:pt>
                <c:pt idx="120">
                  <c:v>450</c:v>
                </c:pt>
                <c:pt idx="121">
                  <c:v>417</c:v>
                </c:pt>
                <c:pt idx="122">
                  <c:v>377</c:v>
                </c:pt>
                <c:pt idx="123">
                  <c:v>387</c:v>
                </c:pt>
                <c:pt idx="124">
                  <c:v>420</c:v>
                </c:pt>
                <c:pt idx="125">
                  <c:v>438</c:v>
                </c:pt>
                <c:pt idx="126">
                  <c:v>4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28</c:f>
              <c:numCache>
                <c:formatCode>m/d/yyyy</c:formatCode>
                <c:ptCount val="127"/>
                <c:pt idx="0">
                  <c:v>44133</c:v>
                </c:pt>
                <c:pt idx="1">
                  <c:v>44134</c:v>
                </c:pt>
                <c:pt idx="2">
                  <c:v>44135</c:v>
                </c:pt>
                <c:pt idx="3">
                  <c:v>44136</c:v>
                </c:pt>
                <c:pt idx="4">
                  <c:v>44137</c:v>
                </c:pt>
                <c:pt idx="5">
                  <c:v>44138</c:v>
                </c:pt>
                <c:pt idx="6">
                  <c:v>44139</c:v>
                </c:pt>
                <c:pt idx="7">
                  <c:v>44140</c:v>
                </c:pt>
                <c:pt idx="8">
                  <c:v>44141</c:v>
                </c:pt>
                <c:pt idx="9">
                  <c:v>44142</c:v>
                </c:pt>
                <c:pt idx="10">
                  <c:v>44143</c:v>
                </c:pt>
                <c:pt idx="11">
                  <c:v>44144</c:v>
                </c:pt>
                <c:pt idx="12">
                  <c:v>44145</c:v>
                </c:pt>
                <c:pt idx="13">
                  <c:v>44146</c:v>
                </c:pt>
                <c:pt idx="14">
                  <c:v>44147</c:v>
                </c:pt>
                <c:pt idx="15">
                  <c:v>44148</c:v>
                </c:pt>
                <c:pt idx="16">
                  <c:v>44149</c:v>
                </c:pt>
                <c:pt idx="17">
                  <c:v>44150</c:v>
                </c:pt>
                <c:pt idx="18">
                  <c:v>44151</c:v>
                </c:pt>
                <c:pt idx="19">
                  <c:v>44152</c:v>
                </c:pt>
                <c:pt idx="20">
                  <c:v>44153</c:v>
                </c:pt>
                <c:pt idx="21">
                  <c:v>44154</c:v>
                </c:pt>
                <c:pt idx="22">
                  <c:v>44155</c:v>
                </c:pt>
                <c:pt idx="23">
                  <c:v>44156</c:v>
                </c:pt>
                <c:pt idx="24">
                  <c:v>44157</c:v>
                </c:pt>
                <c:pt idx="25">
                  <c:v>44158</c:v>
                </c:pt>
                <c:pt idx="26">
                  <c:v>44159</c:v>
                </c:pt>
                <c:pt idx="27">
                  <c:v>44160</c:v>
                </c:pt>
                <c:pt idx="28">
                  <c:v>44161</c:v>
                </c:pt>
                <c:pt idx="29">
                  <c:v>44162</c:v>
                </c:pt>
                <c:pt idx="30">
                  <c:v>44163</c:v>
                </c:pt>
                <c:pt idx="31">
                  <c:v>44164</c:v>
                </c:pt>
                <c:pt idx="32">
                  <c:v>44165</c:v>
                </c:pt>
                <c:pt idx="33">
                  <c:v>44166</c:v>
                </c:pt>
                <c:pt idx="34">
                  <c:v>44167</c:v>
                </c:pt>
                <c:pt idx="35">
                  <c:v>44168</c:v>
                </c:pt>
                <c:pt idx="36">
                  <c:v>44169</c:v>
                </c:pt>
                <c:pt idx="37">
                  <c:v>44170</c:v>
                </c:pt>
                <c:pt idx="38">
                  <c:v>44171</c:v>
                </c:pt>
                <c:pt idx="39">
                  <c:v>44172</c:v>
                </c:pt>
                <c:pt idx="40">
                  <c:v>44173</c:v>
                </c:pt>
                <c:pt idx="41">
                  <c:v>44174</c:v>
                </c:pt>
                <c:pt idx="42">
                  <c:v>44175</c:v>
                </c:pt>
                <c:pt idx="43">
                  <c:v>44176</c:v>
                </c:pt>
                <c:pt idx="44">
                  <c:v>44177</c:v>
                </c:pt>
                <c:pt idx="45">
                  <c:v>44178</c:v>
                </c:pt>
                <c:pt idx="46">
                  <c:v>44179</c:v>
                </c:pt>
                <c:pt idx="47">
                  <c:v>44180</c:v>
                </c:pt>
                <c:pt idx="48">
                  <c:v>44181</c:v>
                </c:pt>
                <c:pt idx="49">
                  <c:v>44182</c:v>
                </c:pt>
                <c:pt idx="50">
                  <c:v>44183</c:v>
                </c:pt>
                <c:pt idx="51">
                  <c:v>44184</c:v>
                </c:pt>
                <c:pt idx="52">
                  <c:v>44185</c:v>
                </c:pt>
                <c:pt idx="53">
                  <c:v>44186</c:v>
                </c:pt>
                <c:pt idx="54">
                  <c:v>44187</c:v>
                </c:pt>
                <c:pt idx="55">
                  <c:v>44188</c:v>
                </c:pt>
                <c:pt idx="56">
                  <c:v>44189</c:v>
                </c:pt>
                <c:pt idx="57">
                  <c:v>44190</c:v>
                </c:pt>
                <c:pt idx="58">
                  <c:v>44191</c:v>
                </c:pt>
                <c:pt idx="59">
                  <c:v>44192</c:v>
                </c:pt>
                <c:pt idx="60">
                  <c:v>44193</c:v>
                </c:pt>
                <c:pt idx="61">
                  <c:v>44194</c:v>
                </c:pt>
                <c:pt idx="62">
                  <c:v>44195</c:v>
                </c:pt>
                <c:pt idx="63">
                  <c:v>44196</c:v>
                </c:pt>
                <c:pt idx="64">
                  <c:v>44197</c:v>
                </c:pt>
                <c:pt idx="65">
                  <c:v>44198</c:v>
                </c:pt>
                <c:pt idx="66">
                  <c:v>44199</c:v>
                </c:pt>
                <c:pt idx="67">
                  <c:v>44200</c:v>
                </c:pt>
                <c:pt idx="68">
                  <c:v>44201</c:v>
                </c:pt>
                <c:pt idx="69">
                  <c:v>44202</c:v>
                </c:pt>
                <c:pt idx="70">
                  <c:v>44203</c:v>
                </c:pt>
                <c:pt idx="71">
                  <c:v>44204</c:v>
                </c:pt>
                <c:pt idx="72">
                  <c:v>44205</c:v>
                </c:pt>
                <c:pt idx="73">
                  <c:v>44206</c:v>
                </c:pt>
                <c:pt idx="74">
                  <c:v>44207</c:v>
                </c:pt>
                <c:pt idx="75">
                  <c:v>44208</c:v>
                </c:pt>
                <c:pt idx="76">
                  <c:v>44209</c:v>
                </c:pt>
                <c:pt idx="77">
                  <c:v>44210</c:v>
                </c:pt>
                <c:pt idx="78">
                  <c:v>44211</c:v>
                </c:pt>
                <c:pt idx="79">
                  <c:v>44212</c:v>
                </c:pt>
                <c:pt idx="80">
                  <c:v>44213</c:v>
                </c:pt>
                <c:pt idx="81">
                  <c:v>44214</c:v>
                </c:pt>
                <c:pt idx="82">
                  <c:v>44215</c:v>
                </c:pt>
                <c:pt idx="83">
                  <c:v>44216</c:v>
                </c:pt>
                <c:pt idx="84">
                  <c:v>44217</c:v>
                </c:pt>
                <c:pt idx="85">
                  <c:v>44218</c:v>
                </c:pt>
                <c:pt idx="86">
                  <c:v>44219</c:v>
                </c:pt>
                <c:pt idx="87">
                  <c:v>44220</c:v>
                </c:pt>
                <c:pt idx="88">
                  <c:v>44221</c:v>
                </c:pt>
                <c:pt idx="89">
                  <c:v>44222</c:v>
                </c:pt>
                <c:pt idx="90">
                  <c:v>44223</c:v>
                </c:pt>
                <c:pt idx="91">
                  <c:v>44224</c:v>
                </c:pt>
                <c:pt idx="92">
                  <c:v>44225</c:v>
                </c:pt>
                <c:pt idx="93">
                  <c:v>44226</c:v>
                </c:pt>
                <c:pt idx="94">
                  <c:v>44227</c:v>
                </c:pt>
                <c:pt idx="95">
                  <c:v>44228</c:v>
                </c:pt>
                <c:pt idx="96">
                  <c:v>44229</c:v>
                </c:pt>
                <c:pt idx="97">
                  <c:v>44230</c:v>
                </c:pt>
                <c:pt idx="98">
                  <c:v>44231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38</c:v>
                </c:pt>
                <c:pt idx="106">
                  <c:v>44239</c:v>
                </c:pt>
                <c:pt idx="107">
                  <c:v>44240</c:v>
                </c:pt>
                <c:pt idx="108">
                  <c:v>44241</c:v>
                </c:pt>
                <c:pt idx="109">
                  <c:v>44242</c:v>
                </c:pt>
                <c:pt idx="110">
                  <c:v>44243</c:v>
                </c:pt>
                <c:pt idx="111">
                  <c:v>44244</c:v>
                </c:pt>
                <c:pt idx="112">
                  <c:v>44245</c:v>
                </c:pt>
                <c:pt idx="113">
                  <c:v>44246</c:v>
                </c:pt>
                <c:pt idx="114">
                  <c:v>44247</c:v>
                </c:pt>
                <c:pt idx="115">
                  <c:v>44248</c:v>
                </c:pt>
                <c:pt idx="116">
                  <c:v>44249</c:v>
                </c:pt>
                <c:pt idx="117">
                  <c:v>44250</c:v>
                </c:pt>
                <c:pt idx="118">
                  <c:v>44251</c:v>
                </c:pt>
                <c:pt idx="119">
                  <c:v>44252</c:v>
                </c:pt>
                <c:pt idx="120">
                  <c:v>44253</c:v>
                </c:pt>
                <c:pt idx="121">
                  <c:v>44254</c:v>
                </c:pt>
                <c:pt idx="122">
                  <c:v>44255</c:v>
                </c:pt>
                <c:pt idx="123">
                  <c:v>44256</c:v>
                </c:pt>
                <c:pt idx="124">
                  <c:v>44257</c:v>
                </c:pt>
                <c:pt idx="125">
                  <c:v>44258</c:v>
                </c:pt>
                <c:pt idx="126">
                  <c:v>44259</c:v>
                </c:pt>
              </c:numCache>
            </c:numRef>
          </c:cat>
          <c:val>
            <c:numRef>
              <c:f>Sheet1!$B$2:$B$128</c:f>
              <c:numCache>
                <c:formatCode>#,##0_ ;\-#,##0\ </c:formatCode>
                <c:ptCount val="127"/>
                <c:pt idx="0">
                  <c:v>463</c:v>
                </c:pt>
                <c:pt idx="1">
                  <c:v>328</c:v>
                </c:pt>
                <c:pt idx="2">
                  <c:v>179</c:v>
                </c:pt>
                <c:pt idx="3">
                  <c:v>115</c:v>
                </c:pt>
                <c:pt idx="4">
                  <c:v>287</c:v>
                </c:pt>
                <c:pt idx="5">
                  <c:v>224</c:v>
                </c:pt>
                <c:pt idx="6">
                  <c:v>323</c:v>
                </c:pt>
                <c:pt idx="7">
                  <c:v>274</c:v>
                </c:pt>
                <c:pt idx="8">
                  <c:v>235</c:v>
                </c:pt>
                <c:pt idx="9">
                  <c:v>116</c:v>
                </c:pt>
                <c:pt idx="10">
                  <c:v>45</c:v>
                </c:pt>
                <c:pt idx="11">
                  <c:v>191</c:v>
                </c:pt>
                <c:pt idx="12">
                  <c:v>201</c:v>
                </c:pt>
                <c:pt idx="13">
                  <c:v>253</c:v>
                </c:pt>
                <c:pt idx="14">
                  <c:v>224</c:v>
                </c:pt>
                <c:pt idx="15">
                  <c:v>200</c:v>
                </c:pt>
                <c:pt idx="16">
                  <c:v>70</c:v>
                </c:pt>
                <c:pt idx="17">
                  <c:v>30</c:v>
                </c:pt>
                <c:pt idx="18">
                  <c:v>173</c:v>
                </c:pt>
                <c:pt idx="19">
                  <c:v>45</c:v>
                </c:pt>
                <c:pt idx="20">
                  <c:v>160</c:v>
                </c:pt>
                <c:pt idx="21">
                  <c:v>123</c:v>
                </c:pt>
                <c:pt idx="22">
                  <c:v>118</c:v>
                </c:pt>
                <c:pt idx="23">
                  <c:v>33</c:v>
                </c:pt>
                <c:pt idx="24">
                  <c:v>17</c:v>
                </c:pt>
                <c:pt idx="25">
                  <c:v>137</c:v>
                </c:pt>
                <c:pt idx="26">
                  <c:v>105</c:v>
                </c:pt>
                <c:pt idx="27">
                  <c:v>92</c:v>
                </c:pt>
                <c:pt idx="28">
                  <c:v>52</c:v>
                </c:pt>
                <c:pt idx="29">
                  <c:v>79</c:v>
                </c:pt>
                <c:pt idx="30">
                  <c:v>22</c:v>
                </c:pt>
                <c:pt idx="31">
                  <c:v>15</c:v>
                </c:pt>
                <c:pt idx="32">
                  <c:v>108</c:v>
                </c:pt>
                <c:pt idx="33">
                  <c:v>83</c:v>
                </c:pt>
                <c:pt idx="34">
                  <c:v>63</c:v>
                </c:pt>
                <c:pt idx="35">
                  <c:v>54</c:v>
                </c:pt>
                <c:pt idx="36">
                  <c:v>87</c:v>
                </c:pt>
                <c:pt idx="37">
                  <c:v>38</c:v>
                </c:pt>
                <c:pt idx="38">
                  <c:v>23</c:v>
                </c:pt>
                <c:pt idx="39">
                  <c:v>121</c:v>
                </c:pt>
                <c:pt idx="40">
                  <c:v>74</c:v>
                </c:pt>
                <c:pt idx="41">
                  <c:v>61</c:v>
                </c:pt>
                <c:pt idx="42">
                  <c:v>59</c:v>
                </c:pt>
                <c:pt idx="43">
                  <c:v>77</c:v>
                </c:pt>
                <c:pt idx="44">
                  <c:v>20</c:v>
                </c:pt>
                <c:pt idx="45">
                  <c:v>14</c:v>
                </c:pt>
                <c:pt idx="46">
                  <c:v>130</c:v>
                </c:pt>
                <c:pt idx="47">
                  <c:v>68</c:v>
                </c:pt>
                <c:pt idx="48">
                  <c:v>93</c:v>
                </c:pt>
                <c:pt idx="49">
                  <c:v>48</c:v>
                </c:pt>
                <c:pt idx="50">
                  <c:v>72</c:v>
                </c:pt>
                <c:pt idx="51">
                  <c:v>25</c:v>
                </c:pt>
                <c:pt idx="52">
                  <c:v>24</c:v>
                </c:pt>
                <c:pt idx="53">
                  <c:v>154</c:v>
                </c:pt>
                <c:pt idx="54">
                  <c:v>106</c:v>
                </c:pt>
                <c:pt idx="55">
                  <c:v>112</c:v>
                </c:pt>
                <c:pt idx="56">
                  <c:v>27</c:v>
                </c:pt>
                <c:pt idx="57">
                  <c:v>43</c:v>
                </c:pt>
                <c:pt idx="58">
                  <c:v>49</c:v>
                </c:pt>
                <c:pt idx="59">
                  <c:v>45</c:v>
                </c:pt>
                <c:pt idx="60">
                  <c:v>188</c:v>
                </c:pt>
                <c:pt idx="61">
                  <c:v>142</c:v>
                </c:pt>
                <c:pt idx="62">
                  <c:v>108</c:v>
                </c:pt>
                <c:pt idx="63">
                  <c:v>81</c:v>
                </c:pt>
                <c:pt idx="64">
                  <c:v>28</c:v>
                </c:pt>
                <c:pt idx="65">
                  <c:v>57</c:v>
                </c:pt>
                <c:pt idx="66">
                  <c:v>34</c:v>
                </c:pt>
                <c:pt idx="67">
                  <c:v>250</c:v>
                </c:pt>
                <c:pt idx="68">
                  <c:v>137</c:v>
                </c:pt>
                <c:pt idx="69">
                  <c:v>109</c:v>
                </c:pt>
                <c:pt idx="70">
                  <c:v>97</c:v>
                </c:pt>
                <c:pt idx="71">
                  <c:v>119</c:v>
                </c:pt>
                <c:pt idx="72">
                  <c:v>45</c:v>
                </c:pt>
                <c:pt idx="73">
                  <c:v>22</c:v>
                </c:pt>
                <c:pt idx="74">
                  <c:v>207</c:v>
                </c:pt>
                <c:pt idx="75">
                  <c:v>93</c:v>
                </c:pt>
                <c:pt idx="76">
                  <c:v>106</c:v>
                </c:pt>
                <c:pt idx="77">
                  <c:v>49</c:v>
                </c:pt>
                <c:pt idx="78">
                  <c:v>63</c:v>
                </c:pt>
                <c:pt idx="79">
                  <c:v>31</c:v>
                </c:pt>
                <c:pt idx="80">
                  <c:v>25</c:v>
                </c:pt>
                <c:pt idx="81">
                  <c:v>120</c:v>
                </c:pt>
                <c:pt idx="82">
                  <c:v>71</c:v>
                </c:pt>
                <c:pt idx="83">
                  <c:v>71</c:v>
                </c:pt>
                <c:pt idx="84">
                  <c:v>57</c:v>
                </c:pt>
                <c:pt idx="85">
                  <c:v>74</c:v>
                </c:pt>
                <c:pt idx="86">
                  <c:v>26</c:v>
                </c:pt>
                <c:pt idx="87">
                  <c:v>11</c:v>
                </c:pt>
                <c:pt idx="88">
                  <c:v>86</c:v>
                </c:pt>
                <c:pt idx="89">
                  <c:v>73</c:v>
                </c:pt>
                <c:pt idx="90">
                  <c:v>55</c:v>
                </c:pt>
                <c:pt idx="91">
                  <c:v>32</c:v>
                </c:pt>
                <c:pt idx="92">
                  <c:v>45</c:v>
                </c:pt>
                <c:pt idx="93">
                  <c:v>28</c:v>
                </c:pt>
                <c:pt idx="94">
                  <c:v>9</c:v>
                </c:pt>
                <c:pt idx="95">
                  <c:v>77</c:v>
                </c:pt>
                <c:pt idx="96">
                  <c:v>66</c:v>
                </c:pt>
                <c:pt idx="97">
                  <c:v>54</c:v>
                </c:pt>
                <c:pt idx="98">
                  <c:v>41</c:v>
                </c:pt>
                <c:pt idx="99">
                  <c:v>43</c:v>
                </c:pt>
                <c:pt idx="100">
                  <c:v>10</c:v>
                </c:pt>
                <c:pt idx="101">
                  <c:v>16</c:v>
                </c:pt>
                <c:pt idx="102">
                  <c:v>65</c:v>
                </c:pt>
                <c:pt idx="103">
                  <c:v>19</c:v>
                </c:pt>
                <c:pt idx="104">
                  <c:v>30</c:v>
                </c:pt>
                <c:pt idx="105">
                  <c:v>38</c:v>
                </c:pt>
                <c:pt idx="106">
                  <c:v>37</c:v>
                </c:pt>
                <c:pt idx="107">
                  <c:v>14</c:v>
                </c:pt>
                <c:pt idx="108">
                  <c:v>7</c:v>
                </c:pt>
                <c:pt idx="109">
                  <c:v>61</c:v>
                </c:pt>
                <c:pt idx="110">
                  <c:v>28</c:v>
                </c:pt>
                <c:pt idx="111">
                  <c:v>30</c:v>
                </c:pt>
                <c:pt idx="112">
                  <c:v>23</c:v>
                </c:pt>
                <c:pt idx="113">
                  <c:v>30</c:v>
                </c:pt>
                <c:pt idx="114">
                  <c:v>7</c:v>
                </c:pt>
                <c:pt idx="115">
                  <c:v>11</c:v>
                </c:pt>
                <c:pt idx="116">
                  <c:v>63</c:v>
                </c:pt>
                <c:pt idx="117">
                  <c:v>55</c:v>
                </c:pt>
                <c:pt idx="118">
                  <c:v>40</c:v>
                </c:pt>
                <c:pt idx="119">
                  <c:v>34</c:v>
                </c:pt>
                <c:pt idx="120">
                  <c:v>49</c:v>
                </c:pt>
                <c:pt idx="121">
                  <c:v>22</c:v>
                </c:pt>
                <c:pt idx="122">
                  <c:v>5</c:v>
                </c:pt>
                <c:pt idx="123">
                  <c:v>44</c:v>
                </c:pt>
                <c:pt idx="124">
                  <c:v>42</c:v>
                </c:pt>
                <c:pt idx="125">
                  <c:v>27</c:v>
                </c:pt>
                <c:pt idx="126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,##0_ ;\-#,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27293984100551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pozitivních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7:$A$186</c:f>
              <c:numCache>
                <c:formatCode>m/d/yyyy</c:formatCode>
                <c:ptCount val="160"/>
                <c:pt idx="0">
                  <c:v>44100</c:v>
                </c:pt>
                <c:pt idx="1">
                  <c:v>44101</c:v>
                </c:pt>
                <c:pt idx="2">
                  <c:v>44102</c:v>
                </c:pt>
                <c:pt idx="3">
                  <c:v>44103</c:v>
                </c:pt>
                <c:pt idx="4">
                  <c:v>44104</c:v>
                </c:pt>
                <c:pt idx="5">
                  <c:v>44105</c:v>
                </c:pt>
                <c:pt idx="6">
                  <c:v>44106</c:v>
                </c:pt>
                <c:pt idx="7">
                  <c:v>44107</c:v>
                </c:pt>
                <c:pt idx="8">
                  <c:v>44108</c:v>
                </c:pt>
                <c:pt idx="9">
                  <c:v>44109</c:v>
                </c:pt>
                <c:pt idx="10">
                  <c:v>44110</c:v>
                </c:pt>
                <c:pt idx="11">
                  <c:v>44111</c:v>
                </c:pt>
                <c:pt idx="12">
                  <c:v>44112</c:v>
                </c:pt>
                <c:pt idx="13">
                  <c:v>44113</c:v>
                </c:pt>
                <c:pt idx="14">
                  <c:v>44114</c:v>
                </c:pt>
                <c:pt idx="15">
                  <c:v>44115</c:v>
                </c:pt>
                <c:pt idx="16">
                  <c:v>44116</c:v>
                </c:pt>
                <c:pt idx="17">
                  <c:v>44117</c:v>
                </c:pt>
                <c:pt idx="18">
                  <c:v>44118</c:v>
                </c:pt>
                <c:pt idx="19">
                  <c:v>44119</c:v>
                </c:pt>
                <c:pt idx="20">
                  <c:v>44120</c:v>
                </c:pt>
                <c:pt idx="21">
                  <c:v>44121</c:v>
                </c:pt>
                <c:pt idx="22">
                  <c:v>44122</c:v>
                </c:pt>
                <c:pt idx="23">
                  <c:v>44123</c:v>
                </c:pt>
                <c:pt idx="24">
                  <c:v>44124</c:v>
                </c:pt>
                <c:pt idx="25">
                  <c:v>44125</c:v>
                </c:pt>
                <c:pt idx="26">
                  <c:v>44126</c:v>
                </c:pt>
                <c:pt idx="27">
                  <c:v>44127</c:v>
                </c:pt>
                <c:pt idx="28">
                  <c:v>44128</c:v>
                </c:pt>
                <c:pt idx="29">
                  <c:v>44129</c:v>
                </c:pt>
                <c:pt idx="30">
                  <c:v>44130</c:v>
                </c:pt>
                <c:pt idx="31">
                  <c:v>44131</c:v>
                </c:pt>
                <c:pt idx="32">
                  <c:v>44132</c:v>
                </c:pt>
                <c:pt idx="33">
                  <c:v>44133</c:v>
                </c:pt>
                <c:pt idx="34">
                  <c:v>44134</c:v>
                </c:pt>
                <c:pt idx="35">
                  <c:v>44135</c:v>
                </c:pt>
                <c:pt idx="36">
                  <c:v>44136</c:v>
                </c:pt>
                <c:pt idx="37">
                  <c:v>44137</c:v>
                </c:pt>
                <c:pt idx="38">
                  <c:v>44138</c:v>
                </c:pt>
                <c:pt idx="39">
                  <c:v>44139</c:v>
                </c:pt>
                <c:pt idx="40">
                  <c:v>44140</c:v>
                </c:pt>
                <c:pt idx="41">
                  <c:v>44141</c:v>
                </c:pt>
                <c:pt idx="42">
                  <c:v>44142</c:v>
                </c:pt>
                <c:pt idx="43">
                  <c:v>44143</c:v>
                </c:pt>
                <c:pt idx="44">
                  <c:v>44144</c:v>
                </c:pt>
                <c:pt idx="45">
                  <c:v>44145</c:v>
                </c:pt>
                <c:pt idx="46">
                  <c:v>44146</c:v>
                </c:pt>
                <c:pt idx="47">
                  <c:v>44147</c:v>
                </c:pt>
                <c:pt idx="48">
                  <c:v>44148</c:v>
                </c:pt>
                <c:pt idx="49">
                  <c:v>44149</c:v>
                </c:pt>
                <c:pt idx="50">
                  <c:v>44150</c:v>
                </c:pt>
                <c:pt idx="51">
                  <c:v>44151</c:v>
                </c:pt>
                <c:pt idx="52">
                  <c:v>44152</c:v>
                </c:pt>
                <c:pt idx="53">
                  <c:v>44153</c:v>
                </c:pt>
                <c:pt idx="54">
                  <c:v>44154</c:v>
                </c:pt>
                <c:pt idx="55">
                  <c:v>44155</c:v>
                </c:pt>
                <c:pt idx="56">
                  <c:v>44156</c:v>
                </c:pt>
                <c:pt idx="57">
                  <c:v>44157</c:v>
                </c:pt>
                <c:pt idx="58">
                  <c:v>44158</c:v>
                </c:pt>
                <c:pt idx="59">
                  <c:v>44159</c:v>
                </c:pt>
                <c:pt idx="60">
                  <c:v>44160</c:v>
                </c:pt>
                <c:pt idx="61">
                  <c:v>44161</c:v>
                </c:pt>
                <c:pt idx="62">
                  <c:v>44162</c:v>
                </c:pt>
                <c:pt idx="63">
                  <c:v>44163</c:v>
                </c:pt>
                <c:pt idx="64">
                  <c:v>44164</c:v>
                </c:pt>
                <c:pt idx="65">
                  <c:v>44165</c:v>
                </c:pt>
                <c:pt idx="66">
                  <c:v>44166</c:v>
                </c:pt>
                <c:pt idx="67">
                  <c:v>44167</c:v>
                </c:pt>
                <c:pt idx="68">
                  <c:v>44168</c:v>
                </c:pt>
                <c:pt idx="69">
                  <c:v>44169</c:v>
                </c:pt>
                <c:pt idx="70">
                  <c:v>44170</c:v>
                </c:pt>
                <c:pt idx="71">
                  <c:v>44171</c:v>
                </c:pt>
                <c:pt idx="72">
                  <c:v>44172</c:v>
                </c:pt>
                <c:pt idx="73">
                  <c:v>44173</c:v>
                </c:pt>
                <c:pt idx="74">
                  <c:v>44174</c:v>
                </c:pt>
                <c:pt idx="75">
                  <c:v>44175</c:v>
                </c:pt>
                <c:pt idx="76">
                  <c:v>44176</c:v>
                </c:pt>
                <c:pt idx="77">
                  <c:v>44177</c:v>
                </c:pt>
                <c:pt idx="78">
                  <c:v>44178</c:v>
                </c:pt>
                <c:pt idx="79">
                  <c:v>44179</c:v>
                </c:pt>
                <c:pt idx="80">
                  <c:v>44180</c:v>
                </c:pt>
                <c:pt idx="81">
                  <c:v>44181</c:v>
                </c:pt>
                <c:pt idx="82">
                  <c:v>44182</c:v>
                </c:pt>
                <c:pt idx="83">
                  <c:v>44183</c:v>
                </c:pt>
                <c:pt idx="84">
                  <c:v>44184</c:v>
                </c:pt>
                <c:pt idx="85">
                  <c:v>44185</c:v>
                </c:pt>
                <c:pt idx="86">
                  <c:v>44186</c:v>
                </c:pt>
                <c:pt idx="87">
                  <c:v>44187</c:v>
                </c:pt>
                <c:pt idx="88">
                  <c:v>44188</c:v>
                </c:pt>
                <c:pt idx="89">
                  <c:v>44189</c:v>
                </c:pt>
                <c:pt idx="90">
                  <c:v>44190</c:v>
                </c:pt>
                <c:pt idx="91">
                  <c:v>44191</c:v>
                </c:pt>
                <c:pt idx="92">
                  <c:v>44192</c:v>
                </c:pt>
                <c:pt idx="93">
                  <c:v>44193</c:v>
                </c:pt>
                <c:pt idx="94">
                  <c:v>44194</c:v>
                </c:pt>
                <c:pt idx="95">
                  <c:v>44195</c:v>
                </c:pt>
                <c:pt idx="96">
                  <c:v>44196</c:v>
                </c:pt>
                <c:pt idx="97">
                  <c:v>44197</c:v>
                </c:pt>
                <c:pt idx="98">
                  <c:v>44198</c:v>
                </c:pt>
                <c:pt idx="99">
                  <c:v>44199</c:v>
                </c:pt>
                <c:pt idx="100">
                  <c:v>44200</c:v>
                </c:pt>
                <c:pt idx="101">
                  <c:v>44201</c:v>
                </c:pt>
                <c:pt idx="102">
                  <c:v>44202</c:v>
                </c:pt>
                <c:pt idx="103">
                  <c:v>44203</c:v>
                </c:pt>
                <c:pt idx="104">
                  <c:v>44204</c:v>
                </c:pt>
                <c:pt idx="105">
                  <c:v>44205</c:v>
                </c:pt>
                <c:pt idx="106">
                  <c:v>44206</c:v>
                </c:pt>
                <c:pt idx="107">
                  <c:v>44207</c:v>
                </c:pt>
                <c:pt idx="108">
                  <c:v>44208</c:v>
                </c:pt>
                <c:pt idx="109">
                  <c:v>44209</c:v>
                </c:pt>
                <c:pt idx="110">
                  <c:v>44210</c:v>
                </c:pt>
                <c:pt idx="111">
                  <c:v>44211</c:v>
                </c:pt>
                <c:pt idx="112">
                  <c:v>44212</c:v>
                </c:pt>
                <c:pt idx="113">
                  <c:v>44213</c:v>
                </c:pt>
                <c:pt idx="114">
                  <c:v>44214</c:v>
                </c:pt>
                <c:pt idx="115">
                  <c:v>44215</c:v>
                </c:pt>
                <c:pt idx="116">
                  <c:v>44216</c:v>
                </c:pt>
                <c:pt idx="117">
                  <c:v>44217</c:v>
                </c:pt>
                <c:pt idx="118">
                  <c:v>44218</c:v>
                </c:pt>
                <c:pt idx="119">
                  <c:v>44219</c:v>
                </c:pt>
                <c:pt idx="120">
                  <c:v>44220</c:v>
                </c:pt>
                <c:pt idx="121">
                  <c:v>44221</c:v>
                </c:pt>
                <c:pt idx="122">
                  <c:v>44222</c:v>
                </c:pt>
                <c:pt idx="123">
                  <c:v>44223</c:v>
                </c:pt>
                <c:pt idx="124">
                  <c:v>44224</c:v>
                </c:pt>
                <c:pt idx="125">
                  <c:v>44225</c:v>
                </c:pt>
                <c:pt idx="126">
                  <c:v>44226</c:v>
                </c:pt>
                <c:pt idx="127">
                  <c:v>44227</c:v>
                </c:pt>
                <c:pt idx="128">
                  <c:v>44228</c:v>
                </c:pt>
                <c:pt idx="129">
                  <c:v>44229</c:v>
                </c:pt>
                <c:pt idx="130">
                  <c:v>44230</c:v>
                </c:pt>
                <c:pt idx="131">
                  <c:v>44231</c:v>
                </c:pt>
                <c:pt idx="132">
                  <c:v>44232</c:v>
                </c:pt>
                <c:pt idx="133">
                  <c:v>44233</c:v>
                </c:pt>
                <c:pt idx="134">
                  <c:v>44234</c:v>
                </c:pt>
                <c:pt idx="135">
                  <c:v>44235</c:v>
                </c:pt>
                <c:pt idx="136">
                  <c:v>44236</c:v>
                </c:pt>
                <c:pt idx="137">
                  <c:v>44237</c:v>
                </c:pt>
                <c:pt idx="138">
                  <c:v>44238</c:v>
                </c:pt>
                <c:pt idx="139">
                  <c:v>44239</c:v>
                </c:pt>
                <c:pt idx="140">
                  <c:v>44240</c:v>
                </c:pt>
                <c:pt idx="141">
                  <c:v>44241</c:v>
                </c:pt>
                <c:pt idx="142">
                  <c:v>44242</c:v>
                </c:pt>
                <c:pt idx="143">
                  <c:v>44243</c:v>
                </c:pt>
                <c:pt idx="144">
                  <c:v>44244</c:v>
                </c:pt>
                <c:pt idx="145">
                  <c:v>44245</c:v>
                </c:pt>
                <c:pt idx="146">
                  <c:v>44246</c:v>
                </c:pt>
                <c:pt idx="147">
                  <c:v>44247</c:v>
                </c:pt>
                <c:pt idx="148">
                  <c:v>44248</c:v>
                </c:pt>
                <c:pt idx="149">
                  <c:v>44249</c:v>
                </c:pt>
                <c:pt idx="150">
                  <c:v>44250</c:v>
                </c:pt>
                <c:pt idx="151">
                  <c:v>44251</c:v>
                </c:pt>
                <c:pt idx="152">
                  <c:v>44252</c:v>
                </c:pt>
                <c:pt idx="153">
                  <c:v>44253</c:v>
                </c:pt>
                <c:pt idx="154">
                  <c:v>44254</c:v>
                </c:pt>
                <c:pt idx="155">
                  <c:v>44255</c:v>
                </c:pt>
                <c:pt idx="156">
                  <c:v>44256</c:v>
                </c:pt>
                <c:pt idx="157">
                  <c:v>44257</c:v>
                </c:pt>
                <c:pt idx="158">
                  <c:v>44258</c:v>
                </c:pt>
                <c:pt idx="159">
                  <c:v>44259</c:v>
                </c:pt>
              </c:numCache>
            </c:numRef>
          </c:cat>
          <c:val>
            <c:numRef>
              <c:f>Sheet1!$B$27:$B$186</c:f>
              <c:numCache>
                <c:formatCode>General</c:formatCode>
                <c:ptCount val="160"/>
                <c:pt idx="0">
                  <c:v>0.15344060000000001</c:v>
                </c:pt>
                <c:pt idx="1">
                  <c:v>0.14501059999999999</c:v>
                </c:pt>
                <c:pt idx="2">
                  <c:v>0.13432469999999999</c:v>
                </c:pt>
                <c:pt idx="3">
                  <c:v>0.14003689999999999</c:v>
                </c:pt>
                <c:pt idx="4">
                  <c:v>0.17155219999999999</c:v>
                </c:pt>
                <c:pt idx="5">
                  <c:v>0.1993511</c:v>
                </c:pt>
                <c:pt idx="6">
                  <c:v>0.20353589999999999</c:v>
                </c:pt>
                <c:pt idx="7">
                  <c:v>0.21389469999999999</c:v>
                </c:pt>
                <c:pt idx="8">
                  <c:v>0.25369770000000003</c:v>
                </c:pt>
                <c:pt idx="9">
                  <c:v>0.23486190000000001</c:v>
                </c:pt>
                <c:pt idx="10">
                  <c:v>0.2325999</c:v>
                </c:pt>
                <c:pt idx="11">
                  <c:v>0.26714949999999998</c:v>
                </c:pt>
                <c:pt idx="12">
                  <c:v>0.27634639999999999</c:v>
                </c:pt>
                <c:pt idx="13">
                  <c:v>0.38326199999999999</c:v>
                </c:pt>
                <c:pt idx="14">
                  <c:v>0.31661790000000001</c:v>
                </c:pt>
                <c:pt idx="15">
                  <c:v>0.32976149999999999</c:v>
                </c:pt>
                <c:pt idx="16">
                  <c:v>0.25010900000000003</c:v>
                </c:pt>
                <c:pt idx="17">
                  <c:v>0.31773669999999998</c:v>
                </c:pt>
                <c:pt idx="18">
                  <c:v>0.33700600000000003</c:v>
                </c:pt>
                <c:pt idx="19">
                  <c:v>0.34091759999999999</c:v>
                </c:pt>
                <c:pt idx="20">
                  <c:v>0.34459580000000001</c:v>
                </c:pt>
                <c:pt idx="21">
                  <c:v>0.35185080000000002</c:v>
                </c:pt>
                <c:pt idx="22">
                  <c:v>0.36088009999999998</c:v>
                </c:pt>
                <c:pt idx="23">
                  <c:v>0.33825129999999998</c:v>
                </c:pt>
                <c:pt idx="24">
                  <c:v>0.3534118</c:v>
                </c:pt>
                <c:pt idx="25">
                  <c:v>0.39301710000000001</c:v>
                </c:pt>
                <c:pt idx="26">
                  <c:v>0.37731130000000002</c:v>
                </c:pt>
                <c:pt idx="27">
                  <c:v>0.39051900000000001</c:v>
                </c:pt>
                <c:pt idx="28">
                  <c:v>0.37093359999999997</c:v>
                </c:pt>
                <c:pt idx="29">
                  <c:v>0.39876650000000002</c:v>
                </c:pt>
                <c:pt idx="30">
                  <c:v>0.35193590000000002</c:v>
                </c:pt>
                <c:pt idx="31">
                  <c:v>0.37181900000000001</c:v>
                </c:pt>
                <c:pt idx="32">
                  <c:v>0.38242900000000002</c:v>
                </c:pt>
                <c:pt idx="33">
                  <c:v>0.36285329999999999</c:v>
                </c:pt>
                <c:pt idx="34">
                  <c:v>0.33480670000000001</c:v>
                </c:pt>
                <c:pt idx="35">
                  <c:v>0.37123679999999998</c:v>
                </c:pt>
                <c:pt idx="36">
                  <c:v>0.37721559999999998</c:v>
                </c:pt>
                <c:pt idx="37">
                  <c:v>0.36218479999999997</c:v>
                </c:pt>
                <c:pt idx="38">
                  <c:v>0.33734380000000003</c:v>
                </c:pt>
                <c:pt idx="39">
                  <c:v>0.40357710000000002</c:v>
                </c:pt>
                <c:pt idx="40">
                  <c:v>0.37100549999999999</c:v>
                </c:pt>
                <c:pt idx="41">
                  <c:v>0.33449489999999998</c:v>
                </c:pt>
                <c:pt idx="42">
                  <c:v>0.34882489999999999</c:v>
                </c:pt>
                <c:pt idx="43">
                  <c:v>0.31509700000000002</c:v>
                </c:pt>
                <c:pt idx="44">
                  <c:v>0.2492637</c:v>
                </c:pt>
                <c:pt idx="45">
                  <c:v>0.29522029999999999</c:v>
                </c:pt>
                <c:pt idx="46">
                  <c:v>0.32102180000000002</c:v>
                </c:pt>
                <c:pt idx="47">
                  <c:v>0.31560240000000001</c:v>
                </c:pt>
                <c:pt idx="48">
                  <c:v>0.27878540000000002</c:v>
                </c:pt>
                <c:pt idx="49">
                  <c:v>0.31583119999999998</c:v>
                </c:pt>
                <c:pt idx="50">
                  <c:v>0.27497500000000002</c:v>
                </c:pt>
                <c:pt idx="51">
                  <c:v>0.25551740000000001</c:v>
                </c:pt>
                <c:pt idx="52">
                  <c:v>0.30207869999999998</c:v>
                </c:pt>
                <c:pt idx="53">
                  <c:v>0.27045849999999999</c:v>
                </c:pt>
                <c:pt idx="54">
                  <c:v>0.29801870000000003</c:v>
                </c:pt>
                <c:pt idx="55">
                  <c:v>0.26562160000000001</c:v>
                </c:pt>
                <c:pt idx="56">
                  <c:v>0.27330710000000003</c:v>
                </c:pt>
                <c:pt idx="57">
                  <c:v>0.2572699</c:v>
                </c:pt>
                <c:pt idx="58">
                  <c:v>0.22991020000000001</c:v>
                </c:pt>
                <c:pt idx="59">
                  <c:v>0.28857759999999999</c:v>
                </c:pt>
                <c:pt idx="60">
                  <c:v>0.26490809999999998</c:v>
                </c:pt>
                <c:pt idx="61">
                  <c:v>0.25909320000000002</c:v>
                </c:pt>
                <c:pt idx="62">
                  <c:v>0.2413469</c:v>
                </c:pt>
                <c:pt idx="63">
                  <c:v>0.26057079999999999</c:v>
                </c:pt>
                <c:pt idx="64">
                  <c:v>0.2095427</c:v>
                </c:pt>
                <c:pt idx="65">
                  <c:v>0.2119153</c:v>
                </c:pt>
                <c:pt idx="66">
                  <c:v>0.2855163</c:v>
                </c:pt>
                <c:pt idx="67">
                  <c:v>0.24823980000000001</c:v>
                </c:pt>
                <c:pt idx="68">
                  <c:v>0.27577170000000001</c:v>
                </c:pt>
                <c:pt idx="69">
                  <c:v>0.27370349999999999</c:v>
                </c:pt>
                <c:pt idx="70">
                  <c:v>0.31489810000000001</c:v>
                </c:pt>
                <c:pt idx="71">
                  <c:v>0.2130291</c:v>
                </c:pt>
                <c:pt idx="72">
                  <c:v>0.2263819</c:v>
                </c:pt>
                <c:pt idx="73">
                  <c:v>0.28029199999999999</c:v>
                </c:pt>
                <c:pt idx="74">
                  <c:v>0.30666579999999999</c:v>
                </c:pt>
                <c:pt idx="75">
                  <c:v>0.28147470000000002</c:v>
                </c:pt>
                <c:pt idx="76">
                  <c:v>0.2683702</c:v>
                </c:pt>
                <c:pt idx="77">
                  <c:v>0.29261199999999998</c:v>
                </c:pt>
                <c:pt idx="78">
                  <c:v>0.2956028</c:v>
                </c:pt>
                <c:pt idx="79">
                  <c:v>0.2440283</c:v>
                </c:pt>
                <c:pt idx="80">
                  <c:v>0.30379679999999998</c:v>
                </c:pt>
                <c:pt idx="81">
                  <c:v>0.31187100000000001</c:v>
                </c:pt>
                <c:pt idx="82">
                  <c:v>0.2965506</c:v>
                </c:pt>
                <c:pt idx="83">
                  <c:v>0.32161519999999999</c:v>
                </c:pt>
                <c:pt idx="84">
                  <c:v>0.29919319999999999</c:v>
                </c:pt>
                <c:pt idx="85">
                  <c:v>0.3696314</c:v>
                </c:pt>
                <c:pt idx="86">
                  <c:v>0.29873880000000003</c:v>
                </c:pt>
                <c:pt idx="87">
                  <c:v>0.33558369999999998</c:v>
                </c:pt>
                <c:pt idx="88">
                  <c:v>0.38633869999999998</c:v>
                </c:pt>
                <c:pt idx="89">
                  <c:v>0.42346230000000001</c:v>
                </c:pt>
                <c:pt idx="90">
                  <c:v>0.3769981</c:v>
                </c:pt>
                <c:pt idx="91">
                  <c:v>0.40241149999999998</c:v>
                </c:pt>
                <c:pt idx="92">
                  <c:v>0.37464789999999998</c:v>
                </c:pt>
                <c:pt idx="93">
                  <c:v>0.4234349</c:v>
                </c:pt>
                <c:pt idx="94">
                  <c:v>0.49684509999999998</c:v>
                </c:pt>
                <c:pt idx="95">
                  <c:v>0.50016159999999998</c:v>
                </c:pt>
                <c:pt idx="96">
                  <c:v>0.51080510000000001</c:v>
                </c:pt>
                <c:pt idx="97">
                  <c:v>0.50806450000000003</c:v>
                </c:pt>
                <c:pt idx="98">
                  <c:v>0.43375219999999998</c:v>
                </c:pt>
                <c:pt idx="99">
                  <c:v>0.46729080000000001</c:v>
                </c:pt>
                <c:pt idx="100">
                  <c:v>0.39460200000000001</c:v>
                </c:pt>
                <c:pt idx="101">
                  <c:v>0.43424099999999999</c:v>
                </c:pt>
                <c:pt idx="102">
                  <c:v>0.49100149999999998</c:v>
                </c:pt>
                <c:pt idx="103">
                  <c:v>0.41536230000000002</c:v>
                </c:pt>
                <c:pt idx="104">
                  <c:v>0.37281140000000001</c:v>
                </c:pt>
                <c:pt idx="105">
                  <c:v>0.45503959999999999</c:v>
                </c:pt>
                <c:pt idx="106">
                  <c:v>0.40615119999999999</c:v>
                </c:pt>
                <c:pt idx="107">
                  <c:v>0.29903180000000001</c:v>
                </c:pt>
                <c:pt idx="108">
                  <c:v>0.32262180000000001</c:v>
                </c:pt>
                <c:pt idx="109">
                  <c:v>0.35752699999999998</c:v>
                </c:pt>
                <c:pt idx="110">
                  <c:v>0.28979009999999999</c:v>
                </c:pt>
                <c:pt idx="111">
                  <c:v>0.3212971</c:v>
                </c:pt>
                <c:pt idx="112">
                  <c:v>0.3340128</c:v>
                </c:pt>
                <c:pt idx="113">
                  <c:v>0.34596009999999999</c:v>
                </c:pt>
                <c:pt idx="114">
                  <c:v>0.2907035</c:v>
                </c:pt>
                <c:pt idx="115">
                  <c:v>0.34631499999999998</c:v>
                </c:pt>
                <c:pt idx="116">
                  <c:v>0.32079220000000003</c:v>
                </c:pt>
                <c:pt idx="117">
                  <c:v>0.34919280000000003</c:v>
                </c:pt>
                <c:pt idx="118">
                  <c:v>0.30595539999999999</c:v>
                </c:pt>
                <c:pt idx="119">
                  <c:v>0.33802480000000001</c:v>
                </c:pt>
                <c:pt idx="120">
                  <c:v>0.3337716</c:v>
                </c:pt>
                <c:pt idx="121">
                  <c:v>0.27898000000000001</c:v>
                </c:pt>
                <c:pt idx="122">
                  <c:v>0.34104489999999998</c:v>
                </c:pt>
                <c:pt idx="123">
                  <c:v>0.31034119999999998</c:v>
                </c:pt>
                <c:pt idx="124">
                  <c:v>0.33597529999999998</c:v>
                </c:pt>
                <c:pt idx="125">
                  <c:v>0.29215750000000001</c:v>
                </c:pt>
                <c:pt idx="126">
                  <c:v>0.32696259999999999</c:v>
                </c:pt>
                <c:pt idx="127">
                  <c:v>0.38328600000000002</c:v>
                </c:pt>
                <c:pt idx="128">
                  <c:v>0.2935353</c:v>
                </c:pt>
                <c:pt idx="129">
                  <c:v>0.33233560000000001</c:v>
                </c:pt>
                <c:pt idx="130">
                  <c:v>0.3460782</c:v>
                </c:pt>
                <c:pt idx="131">
                  <c:v>0.31939909999999999</c:v>
                </c:pt>
                <c:pt idx="132">
                  <c:v>0.3166988</c:v>
                </c:pt>
                <c:pt idx="133">
                  <c:v>0.368342</c:v>
                </c:pt>
                <c:pt idx="134">
                  <c:v>0.356879</c:v>
                </c:pt>
                <c:pt idx="135">
                  <c:v>0.32804729999999999</c:v>
                </c:pt>
                <c:pt idx="136">
                  <c:v>0.36671039999999999</c:v>
                </c:pt>
                <c:pt idx="137">
                  <c:v>0.3520664</c:v>
                </c:pt>
                <c:pt idx="138">
                  <c:v>0.34545749999999997</c:v>
                </c:pt>
                <c:pt idx="139">
                  <c:v>0.3180463</c:v>
                </c:pt>
                <c:pt idx="140">
                  <c:v>0.34066859999999999</c:v>
                </c:pt>
                <c:pt idx="141">
                  <c:v>0.38093090000000002</c:v>
                </c:pt>
                <c:pt idx="142">
                  <c:v>0.3317988</c:v>
                </c:pt>
                <c:pt idx="143">
                  <c:v>0.40216109999999999</c:v>
                </c:pt>
                <c:pt idx="144">
                  <c:v>0.36785000000000001</c:v>
                </c:pt>
                <c:pt idx="145">
                  <c:v>0.37297419999999998</c:v>
                </c:pt>
                <c:pt idx="146">
                  <c:v>0.32872390000000001</c:v>
                </c:pt>
                <c:pt idx="147">
                  <c:v>0.39765270000000003</c:v>
                </c:pt>
                <c:pt idx="148">
                  <c:v>0.47066720000000001</c:v>
                </c:pt>
                <c:pt idx="149">
                  <c:v>0.35796790000000001</c:v>
                </c:pt>
                <c:pt idx="150">
                  <c:v>0.41974739999999999</c:v>
                </c:pt>
                <c:pt idx="151">
                  <c:v>0.38249680000000003</c:v>
                </c:pt>
                <c:pt idx="152">
                  <c:v>0.39232159999999999</c:v>
                </c:pt>
                <c:pt idx="153">
                  <c:v>0.36414259999999998</c:v>
                </c:pt>
                <c:pt idx="154" formatCode="0.0%">
                  <c:v>0.36258509999999999</c:v>
                </c:pt>
                <c:pt idx="155" formatCode="0.0%">
                  <c:v>0.40030670000000002</c:v>
                </c:pt>
                <c:pt idx="156" formatCode="0.0%">
                  <c:v>0.3586394</c:v>
                </c:pt>
                <c:pt idx="157" formatCode="0.0%">
                  <c:v>0.39760299999999998</c:v>
                </c:pt>
                <c:pt idx="158" formatCode="0.0%">
                  <c:v>0.39474690000000001</c:v>
                </c:pt>
                <c:pt idx="159" formatCode="0.0%">
                  <c:v>0.39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65_14_1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E8-4AB5-9170-4C2D1F005839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DE8-4AB5-9170-4C2D1F005839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solidFill>
                  <a:srgbClr val="3059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E8-4AB5-9170-4C2D1F00583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K</c:v>
                </c:pt>
                <c:pt idx="1">
                  <c:v>MSK</c:v>
                </c:pt>
                <c:pt idx="2">
                  <c:v>OLK</c:v>
                </c:pt>
                <c:pt idx="3">
                  <c:v>VYS</c:v>
                </c:pt>
                <c:pt idx="4">
                  <c:v>JMK</c:v>
                </c:pt>
                <c:pt idx="5">
                  <c:v>JHC</c:v>
                </c:pt>
                <c:pt idx="6">
                  <c:v>PHA</c:v>
                </c:pt>
                <c:pt idx="7">
                  <c:v>ČR</c:v>
                </c:pt>
                <c:pt idx="8">
                  <c:v>ULK</c:v>
                </c:pt>
                <c:pt idx="9">
                  <c:v>STC</c:v>
                </c:pt>
                <c:pt idx="10">
                  <c:v>LBK</c:v>
                </c:pt>
                <c:pt idx="11">
                  <c:v>PAK</c:v>
                </c:pt>
                <c:pt idx="12">
                  <c:v>HKK</c:v>
                </c:pt>
                <c:pt idx="13">
                  <c:v>PLK</c:v>
                </c:pt>
                <c:pt idx="14">
                  <c:v>KV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557.12</c:v>
                </c:pt>
                <c:pt idx="1">
                  <c:v>744.51</c:v>
                </c:pt>
                <c:pt idx="2">
                  <c:v>787.41</c:v>
                </c:pt>
                <c:pt idx="3">
                  <c:v>797.77</c:v>
                </c:pt>
                <c:pt idx="4">
                  <c:v>805.05</c:v>
                </c:pt>
                <c:pt idx="5">
                  <c:v>980.04</c:v>
                </c:pt>
                <c:pt idx="6">
                  <c:v>1066.23</c:v>
                </c:pt>
                <c:pt idx="7">
                  <c:v>1088.93</c:v>
                </c:pt>
                <c:pt idx="8">
                  <c:v>1201.04</c:v>
                </c:pt>
                <c:pt idx="9">
                  <c:v>1268.8399999999999</c:v>
                </c:pt>
                <c:pt idx="10">
                  <c:v>1440.39</c:v>
                </c:pt>
                <c:pt idx="11">
                  <c:v>1454.49</c:v>
                </c:pt>
                <c:pt idx="12">
                  <c:v>1462.23</c:v>
                </c:pt>
                <c:pt idx="13">
                  <c:v>1705.24</c:v>
                </c:pt>
                <c:pt idx="14">
                  <c:v>1944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E8-4AB5-9170-4C2D1F005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dil_zachycen_hosp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C6-4D38-B05A-FC4D28077962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D0D-4E15-B2B2-17FFAB75C148}"/>
              </c:ext>
            </c:extLst>
          </c:dPt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BCC6-4D38-B05A-FC4D28077962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CC6-4D38-B05A-FC4D28077962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FBDE-4510-8333-A7D9A5D40BD5}"/>
              </c:ext>
            </c:extLst>
          </c:dPt>
          <c:dPt>
            <c:idx val="1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CC6-4D38-B05A-FC4D28077962}"/>
              </c:ext>
            </c:extLst>
          </c:dPt>
          <c:dPt>
            <c:idx val="1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CC6-4D38-B05A-FC4D2807796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HA</c:v>
                </c:pt>
                <c:pt idx="1">
                  <c:v>JHC</c:v>
                </c:pt>
                <c:pt idx="2">
                  <c:v>ZLK</c:v>
                </c:pt>
                <c:pt idx="3">
                  <c:v>MSK</c:v>
                </c:pt>
                <c:pt idx="4">
                  <c:v>PAK</c:v>
                </c:pt>
                <c:pt idx="5">
                  <c:v>JMK</c:v>
                </c:pt>
                <c:pt idx="6">
                  <c:v>STC</c:v>
                </c:pt>
                <c:pt idx="7">
                  <c:v>ČR</c:v>
                </c:pt>
                <c:pt idx="8">
                  <c:v>ULK</c:v>
                </c:pt>
                <c:pt idx="9">
                  <c:v>HKK</c:v>
                </c:pt>
                <c:pt idx="10">
                  <c:v>KVK</c:v>
                </c:pt>
                <c:pt idx="11">
                  <c:v>VYS</c:v>
                </c:pt>
                <c:pt idx="12">
                  <c:v>PLK</c:v>
                </c:pt>
                <c:pt idx="13">
                  <c:v>OLK</c:v>
                </c:pt>
                <c:pt idx="14">
                  <c:v>LB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0.35</c:v>
                </c:pt>
                <c:pt idx="1">
                  <c:v>0.36</c:v>
                </c:pt>
                <c:pt idx="2">
                  <c:v>0.36</c:v>
                </c:pt>
                <c:pt idx="3">
                  <c:v>0.4</c:v>
                </c:pt>
                <c:pt idx="4">
                  <c:v>0.43</c:v>
                </c:pt>
                <c:pt idx="5">
                  <c:v>0.43</c:v>
                </c:pt>
                <c:pt idx="6">
                  <c:v>0.43</c:v>
                </c:pt>
                <c:pt idx="7">
                  <c:v>0.43</c:v>
                </c:pt>
                <c:pt idx="8">
                  <c:v>0.43</c:v>
                </c:pt>
                <c:pt idx="9">
                  <c:v>0.43</c:v>
                </c:pt>
                <c:pt idx="10">
                  <c:v>0.45</c:v>
                </c:pt>
                <c:pt idx="11">
                  <c:v>0.46</c:v>
                </c:pt>
                <c:pt idx="12">
                  <c:v>0.51</c:v>
                </c:pt>
                <c:pt idx="13">
                  <c:v>0.53</c:v>
                </c:pt>
                <c:pt idx="14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CC6-4D38-B05A-FC4D280779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  <c:max val="0.70000000000000007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mpleR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B3-426A-9721-7358D8167592}"/>
              </c:ext>
            </c:extLst>
          </c:dPt>
          <c:dPt>
            <c:idx val="5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45B-47F4-AFC4-ECFC4719D780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B3-426A-9721-7358D8167592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05B3-426A-9721-7358D8167592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B3-426A-9721-7358D8167592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5B3-426A-9721-7358D8167592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5B3-426A-9721-7358D8167592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HKK</c:v>
                </c:pt>
                <c:pt idx="2">
                  <c:v>PLK</c:v>
                </c:pt>
                <c:pt idx="3">
                  <c:v>PAK</c:v>
                </c:pt>
                <c:pt idx="4">
                  <c:v>LBK</c:v>
                </c:pt>
                <c:pt idx="5">
                  <c:v>ČR</c:v>
                </c:pt>
                <c:pt idx="6">
                  <c:v>MSK</c:v>
                </c:pt>
                <c:pt idx="7">
                  <c:v>PHA</c:v>
                </c:pt>
                <c:pt idx="8">
                  <c:v>ZLK</c:v>
                </c:pt>
                <c:pt idx="9">
                  <c:v>STC</c:v>
                </c:pt>
                <c:pt idx="10">
                  <c:v>JMK</c:v>
                </c:pt>
                <c:pt idx="11">
                  <c:v>ULK</c:v>
                </c:pt>
                <c:pt idx="12">
                  <c:v>VYS</c:v>
                </c:pt>
                <c:pt idx="13">
                  <c:v>OLK</c:v>
                </c:pt>
                <c:pt idx="14">
                  <c:v>JHC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0.75</c:v>
                </c:pt>
                <c:pt idx="1">
                  <c:v>0.94</c:v>
                </c:pt>
                <c:pt idx="2">
                  <c:v>0.96</c:v>
                </c:pt>
                <c:pt idx="3">
                  <c:v>1.02</c:v>
                </c:pt>
                <c:pt idx="4">
                  <c:v>1.04</c:v>
                </c:pt>
                <c:pt idx="5">
                  <c:v>1.05</c:v>
                </c:pt>
                <c:pt idx="6">
                  <c:v>1.06</c:v>
                </c:pt>
                <c:pt idx="7">
                  <c:v>1.07</c:v>
                </c:pt>
                <c:pt idx="8">
                  <c:v>1.07</c:v>
                </c:pt>
                <c:pt idx="9">
                  <c:v>1.07</c:v>
                </c:pt>
                <c:pt idx="10">
                  <c:v>1.08</c:v>
                </c:pt>
                <c:pt idx="11">
                  <c:v>1.1000000000000001</c:v>
                </c:pt>
                <c:pt idx="12">
                  <c:v>1.1399999999999999</c:v>
                </c:pt>
                <c:pt idx="13">
                  <c:v>1.1599999999999999</c:v>
                </c:pt>
                <c:pt idx="14">
                  <c:v>1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5B3-426A-9721-7358D816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  <c:max val="1.6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14_1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793-472D-8346-6F6BF5D8FBF1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97-4EFC-9372-672CCEC2E298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C5-4684-BF5F-BF64B5231763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6C5-4684-BF5F-BF64B523176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K</c:v>
                </c:pt>
                <c:pt idx="1">
                  <c:v>MSK</c:v>
                </c:pt>
                <c:pt idx="2">
                  <c:v>OLK</c:v>
                </c:pt>
                <c:pt idx="3">
                  <c:v>VYS</c:v>
                </c:pt>
                <c:pt idx="4">
                  <c:v>JMK</c:v>
                </c:pt>
                <c:pt idx="5">
                  <c:v>JHC</c:v>
                </c:pt>
                <c:pt idx="6">
                  <c:v>ČR</c:v>
                </c:pt>
                <c:pt idx="7">
                  <c:v>PHA</c:v>
                </c:pt>
                <c:pt idx="8">
                  <c:v>ULK</c:v>
                </c:pt>
                <c:pt idx="9">
                  <c:v>STC</c:v>
                </c:pt>
                <c:pt idx="10">
                  <c:v>PAK</c:v>
                </c:pt>
                <c:pt idx="11">
                  <c:v>LBK</c:v>
                </c:pt>
                <c:pt idx="12">
                  <c:v>KVK</c:v>
                </c:pt>
                <c:pt idx="13">
                  <c:v>HKK</c:v>
                </c:pt>
                <c:pt idx="14">
                  <c:v>PL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775.20577449999996</c:v>
                </c:pt>
                <c:pt idx="1">
                  <c:v>959.73558539999999</c:v>
                </c:pt>
                <c:pt idx="2">
                  <c:v>1111.0495794999999</c:v>
                </c:pt>
                <c:pt idx="3">
                  <c:v>1118.2531633999999</c:v>
                </c:pt>
                <c:pt idx="4">
                  <c:v>1133.9869747</c:v>
                </c:pt>
                <c:pt idx="5">
                  <c:v>1365.351981</c:v>
                </c:pt>
                <c:pt idx="6">
                  <c:v>1531.3253609999999</c:v>
                </c:pt>
                <c:pt idx="7">
                  <c:v>1542.200008</c:v>
                </c:pt>
                <c:pt idx="8">
                  <c:v>1613.5888861999999</c:v>
                </c:pt>
                <c:pt idx="9">
                  <c:v>1985.0686679999999</c:v>
                </c:pt>
                <c:pt idx="10">
                  <c:v>1999.5714247000001</c:v>
                </c:pt>
                <c:pt idx="11">
                  <c:v>2032.5001689999999</c:v>
                </c:pt>
                <c:pt idx="12">
                  <c:v>2038.5931094</c:v>
                </c:pt>
                <c:pt idx="13">
                  <c:v>2080.4971295</c:v>
                </c:pt>
                <c:pt idx="14">
                  <c:v>2442.9605746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C5-4684-BF5F-BF64B52317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  <c:max val="3000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9D9-47D6-8A8A-FE81D4B3A35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9D9-47D6-8A8A-FE81D4B3A35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9D9-47D6-8A8A-FE81D4B3A35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350-49EF-BDD6-68ACED72372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350-49EF-BDD6-68ACED72372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350-49EF-BDD6-68ACED72372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2B3-487A-A200-D8FF409C8D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5E-4AF0-8255-A4C2A217585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F5E-4AF0-8255-A4C2A217585D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5E-4AF0-8255-A4C2A217585D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F5E-4AF0-8255-A4C2A217585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515.85101856419465</c:v>
                </c:pt>
                <c:pt idx="1">
                  <c:v>439.27066194865802</c:v>
                </c:pt>
                <c:pt idx="2">
                  <c:v>426.0216107963015</c:v>
                </c:pt>
                <c:pt idx="3">
                  <c:v>404.52394438252531</c:v>
                </c:pt>
                <c:pt idx="4">
                  <c:v>351.27864662056913</c:v>
                </c:pt>
                <c:pt idx="5">
                  <c:v>346.38392877936542</c:v>
                </c:pt>
                <c:pt idx="6">
                  <c:v>308.77225837192668</c:v>
                </c:pt>
                <c:pt idx="7">
                  <c:v>302.8561452924896</c:v>
                </c:pt>
                <c:pt idx="8">
                  <c:v>253.35804273361578</c:v>
                </c:pt>
                <c:pt idx="9">
                  <c:v>219.14036850391199</c:v>
                </c:pt>
                <c:pt idx="10">
                  <c:v>210.62388958982422</c:v>
                </c:pt>
                <c:pt idx="11">
                  <c:v>192.58016607540446</c:v>
                </c:pt>
                <c:pt idx="12">
                  <c:v>53.476226644937469</c:v>
                </c:pt>
                <c:pt idx="13">
                  <c:v>-121.833681752776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800"/>
          <c:min val="-8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81-45FE-8824-AD9CB6C393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7B2-43CE-A126-8245EB9212D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B2-43CE-A126-8245EB9212D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130-4FB2-A7D7-C4DBF1CFAC6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A130-4FB2-A7D7-C4DBF1CFAC6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130-4FB2-A7D7-C4DBF1CFAC6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A130-4FB2-A7D7-C4DBF1CFAC6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194-40E2-8F23-C0922278ABB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A194-40E2-8F23-C0922278ABB5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194-40E2-8F23-C0922278ABB5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194-40E2-8F23-C0922278ABB5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A5C3-4263-B63B-25E1D174383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942.87327152614239</c:v>
                </c:pt>
                <c:pt idx="1">
                  <c:v>745.41147796505925</c:v>
                </c:pt>
                <c:pt idx="2">
                  <c:v>698.91140210507365</c:v>
                </c:pt>
                <c:pt idx="3">
                  <c:v>680.17515972057265</c:v>
                </c:pt>
                <c:pt idx="4">
                  <c:v>637.12303553730703</c:v>
                </c:pt>
                <c:pt idx="5">
                  <c:v>521.41659184596574</c:v>
                </c:pt>
                <c:pt idx="6">
                  <c:v>485.03065598688363</c:v>
                </c:pt>
                <c:pt idx="7">
                  <c:v>413.48494447964254</c:v>
                </c:pt>
                <c:pt idx="8">
                  <c:v>363.09059899042677</c:v>
                </c:pt>
                <c:pt idx="9">
                  <c:v>348.2512282145201</c:v>
                </c:pt>
                <c:pt idx="10">
                  <c:v>312.27640251587002</c:v>
                </c:pt>
                <c:pt idx="11">
                  <c:v>282.89174412716392</c:v>
                </c:pt>
                <c:pt idx="12">
                  <c:v>74.141615924676444</c:v>
                </c:pt>
                <c:pt idx="13">
                  <c:v>-106.22268074824206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0-8C81-45FE-8824-AD9CB6C3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2000"/>
          <c:min val="-20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5903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7376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98187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759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23218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7920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23592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3052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5323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79425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995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68931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6241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945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4149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08793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85012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788280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295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1719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4109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082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4214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559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993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926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6.png"/><Relationship Id="rId5" Type="http://schemas.openxmlformats.org/officeDocument/2006/relationships/image" Target="../media/image20.svg"/><Relationship Id="rId4" Type="http://schemas.openxmlformats.org/officeDocument/2006/relationships/image" Target="../media/image35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53.sv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6.png"/><Relationship Id="rId5" Type="http://schemas.openxmlformats.org/officeDocument/2006/relationships/image" Target="../media/image20.svg"/><Relationship Id="rId4" Type="http://schemas.openxmlformats.org/officeDocument/2006/relationships/image" Target="../media/image35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20.svg"/><Relationship Id="rId5" Type="http://schemas.openxmlformats.org/officeDocument/2006/relationships/image" Target="../media/image33.png"/><Relationship Id="rId4" Type="http://schemas.openxmlformats.org/officeDocument/2006/relationships/image" Target="../media/image53.sv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NULL"/><Relationship Id="rId4" Type="http://schemas.openxmlformats.org/officeDocument/2006/relationships/image" Target="../media/image17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23.png"/><Relationship Id="rId4" Type="http://schemas.openxmlformats.org/officeDocument/2006/relationships/image" Target="NUL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26.png"/><Relationship Id="rId4" Type="http://schemas.openxmlformats.org/officeDocument/2006/relationships/image" Target="NUL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26.png"/><Relationship Id="rId4" Type="http://schemas.openxmlformats.org/officeDocument/2006/relationships/image" Target="NUL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23.png"/><Relationship Id="rId4" Type="http://schemas.openxmlformats.org/officeDocument/2006/relationships/image" Target="NUL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23.png"/><Relationship Id="rId4" Type="http://schemas.openxmlformats.org/officeDocument/2006/relationships/image" Target="NUL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0.svg"/><Relationship Id="rId5" Type="http://schemas.openxmlformats.org/officeDocument/2006/relationships/image" Target="../media/image27.png"/><Relationship Id="rId4" Type="http://schemas.openxmlformats.org/officeDocument/2006/relationships/image" Target="../media/image1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0.svg"/><Relationship Id="rId5" Type="http://schemas.openxmlformats.org/officeDocument/2006/relationships/image" Target="../media/image27.png"/><Relationship Id="rId4" Type="http://schemas.openxmlformats.org/officeDocument/2006/relationships/image" Target="../media/image1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0.svg"/><Relationship Id="rId5" Type="http://schemas.openxmlformats.org/officeDocument/2006/relationships/image" Target="../media/image27.png"/><Relationship Id="rId4" Type="http://schemas.openxmlformats.org/officeDocument/2006/relationships/image" Target="../media/image28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1.svg"/><Relationship Id="rId5" Type="http://schemas.openxmlformats.org/officeDocument/2006/relationships/image" Target="../media/image15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3.png"/><Relationship Id="rId5" Type="http://schemas.openxmlformats.org/officeDocument/2006/relationships/image" Target="../media/image51.svg"/><Relationship Id="rId4" Type="http://schemas.openxmlformats.org/officeDocument/2006/relationships/image" Target="../media/image17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3.png"/><Relationship Id="rId5" Type="http://schemas.openxmlformats.org/officeDocument/2006/relationships/image" Target="../media/image51.svg"/><Relationship Id="rId4" Type="http://schemas.openxmlformats.org/officeDocument/2006/relationships/image" Target="../media/image17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3.png"/><Relationship Id="rId5" Type="http://schemas.openxmlformats.org/officeDocument/2006/relationships/image" Target="../media/image51.svg"/><Relationship Id="rId4" Type="http://schemas.openxmlformats.org/officeDocument/2006/relationships/image" Target="../media/image17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3.png"/><Relationship Id="rId5" Type="http://schemas.openxmlformats.org/officeDocument/2006/relationships/image" Target="../media/image51.svg"/><Relationship Id="rId4" Type="http://schemas.openxmlformats.org/officeDocument/2006/relationships/image" Target="../media/image17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1.svg"/><Relationship Id="rId5" Type="http://schemas.openxmlformats.org/officeDocument/2006/relationships/image" Target="../media/image15.png"/><Relationship Id="rId4" Type="http://schemas.openxmlformats.org/officeDocument/2006/relationships/image" Target="../media/image3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2.svg"/><Relationship Id="rId5" Type="http://schemas.openxmlformats.org/officeDocument/2006/relationships/image" Target="../media/image15.png"/><Relationship Id="rId4" Type="http://schemas.openxmlformats.org/officeDocument/2006/relationships/image" Target="../media/image30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3.png"/><Relationship Id="rId5" Type="http://schemas.openxmlformats.org/officeDocument/2006/relationships/image" Target="../media/image52.svg"/><Relationship Id="rId4" Type="http://schemas.openxmlformats.org/officeDocument/2006/relationships/image" Target="../media/image17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3.png"/><Relationship Id="rId5" Type="http://schemas.openxmlformats.org/officeDocument/2006/relationships/image" Target="../media/image52.svg"/><Relationship Id="rId4" Type="http://schemas.openxmlformats.org/officeDocument/2006/relationships/image" Target="../media/image17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3.png"/><Relationship Id="rId5" Type="http://schemas.openxmlformats.org/officeDocument/2006/relationships/image" Target="../media/image52.svg"/><Relationship Id="rId4" Type="http://schemas.openxmlformats.org/officeDocument/2006/relationships/image" Target="../media/image17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0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3.png"/><Relationship Id="rId5" Type="http://schemas.openxmlformats.org/officeDocument/2006/relationships/image" Target="../media/image52.svg"/><Relationship Id="rId4" Type="http://schemas.openxmlformats.org/officeDocument/2006/relationships/image" Target="../media/image1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2.svg"/><Relationship Id="rId5" Type="http://schemas.openxmlformats.org/officeDocument/2006/relationships/image" Target="../media/image15.png"/><Relationship Id="rId4" Type="http://schemas.openxmlformats.org/officeDocument/2006/relationships/image" Target="../media/image30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4.svg"/><Relationship Id="rId5" Type="http://schemas.openxmlformats.org/officeDocument/2006/relationships/image" Target="../media/image15.png"/><Relationship Id="rId4" Type="http://schemas.openxmlformats.org/officeDocument/2006/relationships/image" Target="../media/image7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4.svg"/><Relationship Id="rId5" Type="http://schemas.openxmlformats.org/officeDocument/2006/relationships/image" Target="../media/image15.png"/><Relationship Id="rId4" Type="http://schemas.openxmlformats.org/officeDocument/2006/relationships/image" Target="../media/image7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20.svg"/><Relationship Id="rId5" Type="http://schemas.openxmlformats.org/officeDocument/2006/relationships/image" Target="../media/image33.png"/><Relationship Id="rId4" Type="http://schemas.openxmlformats.org/officeDocument/2006/relationships/image" Target="../media/image53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6.png"/><Relationship Id="rId5" Type="http://schemas.openxmlformats.org/officeDocument/2006/relationships/image" Target="../media/image20.svg"/><Relationship Id="rId4" Type="http://schemas.openxmlformats.org/officeDocument/2006/relationships/image" Target="../media/image35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36.png"/><Relationship Id="rId5" Type="http://schemas.openxmlformats.org/officeDocument/2006/relationships/image" Target="../media/image20.svg"/><Relationship Id="rId4" Type="http://schemas.openxmlformats.org/officeDocument/2006/relationships/image" Target="../media/image3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7.03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47351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1649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55736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74996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094734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789246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577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8CA5674-FB0A-4B19-8FB4-5CF504476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F4230AB3-D2AD-45BC-85DB-046467DE83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872D9D4-A57E-41C8-9629-F68D608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5DE884D-C789-454C-AC8B-96FD6CD5E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ECC7C78-77AF-40BD-BEFA-C3A6FDC5B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7438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07854E-FA44-44FA-8044-959A98ED2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B5CD4F0-5E93-44A8-98D5-3B8A295DD0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C3686EF-3BC3-4EAD-9076-CECC44E147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8635B0-7A42-4E3A-BFA9-440EE1D40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E364D61-8F8B-4BD1-B45C-708E4F369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60601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199CC4-282B-4F18-8959-5E2FC8B10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A89D34A-4EA2-42E4-8505-4CBA71483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7EA6CEA-80BC-4FDD-8B7E-A066C760F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C1DBD95-547C-49B6-8228-24A6A17BB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2AF0C15-6598-44BF-98B5-8F57053E3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13981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735F1E-E833-440F-B93B-526CC2421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5687251-4E6D-415C-BA31-EF4E6BED44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DC06AE3-670E-4AED-AA94-8C4A9291F5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0874265-8118-43EB-AA02-B4CE31376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1297741-3ACF-41E5-A1A4-9933ACB37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DDCCE41-B5E6-4DE5-B8BB-2EFC9E73F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6868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24B7FB-F045-48AC-AFD1-F4A83ED1F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1A54C34-8985-4BD0-9B80-E397DEFD15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250480F-3C8C-4AEA-BC08-910212D234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6C53E83-C66D-484D-B4BC-787A4D4DFD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54681400-F85F-44EB-BCDC-C02B560674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FB4CCDD-9DDC-4865-8A20-A7D021B5B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7492514-1665-433F-925A-FC5A45340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68B13B76-6485-4DE3-9F4F-CE8DFF82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7418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A87BFB1-8274-4637-A7D2-3D80AD844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04C3CE6-5CA3-4DB8-B83B-D495CB8F3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694BE5F-C880-47D9-923E-1166D5A22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0DCA6CD-8D99-4E41-A9EA-9CDC43AF1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10783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403822AE-F9B6-45BD-8873-79EB11419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0987310D-8E2B-4E85-80FC-32FACDF71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FD11B76-964A-4A24-B965-384A3D218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5406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E1F2D51-F022-471F-AA04-A33BFD9A1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E0D267B-6B08-4799-9C80-972BC74AF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D5B1AAB-A5FA-4196-BA08-0AA6532986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2E0A624-801B-4FF7-8B04-D9B8EA4D5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E2A93BC-3EC9-455C-A08C-AA72ACB87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73628FC-79DA-425D-BE12-F0EE933A9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75353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8122C9-E4D7-4811-9AAD-1169AD9AA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2A72C71-61D0-498D-8289-1DD7061C37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4DE5336-504A-471A-A98E-1D9FF4E48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A19190E-14C1-4F58-B55A-B6055A67E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910AD24-037E-40DF-86D7-568BBC467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A6131B4-BCBD-409D-B696-4CF480B80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5226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834CA9E-C6DC-4DC9-BA5C-6428F6C46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48D6F5C-DFE8-414D-8CE7-B908E04406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1D3C40-8C83-491C-B308-E57EE6201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714EEA-10FF-4716-AD72-5F9D91CE7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0CFCA6F-8811-4BAC-9756-A6BA0088D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1717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3BECC2E-D113-49B6-9AAF-DF052B865C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56D68D0-D22A-46EB-B6CA-1819BE8817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8ED1F7E-94A7-4F3A-A43F-DEB7E61C3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18F2396-0618-472D-B7D0-F7870BB8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2DB991D-A741-4F1C-884F-D796E2E3C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84916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0636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8168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1375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03465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112784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60310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7311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466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52071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23013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49993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24051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28117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126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15721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53354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34734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8467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28599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83611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9283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86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368993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81514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0397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75360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535417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4546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388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546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5274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30551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6114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5194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6558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3021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3178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123475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7770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6366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4601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778022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5229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7602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9030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93635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4668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6395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1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97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39872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27766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176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9323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7270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211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576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778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3045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07069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8836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2937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34854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577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8839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203808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4414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456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4901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7.03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54864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00064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5811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511659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39735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6361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851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9068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6860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638876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image" Target="../media/image7.sv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88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91.xml"/><Relationship Id="rId15" Type="http://schemas.openxmlformats.org/officeDocument/2006/relationships/image" Target="../media/image4.svg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image" Target="../media/image1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0.sv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53.sv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31.png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image" Target="../media/image30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NUL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46.xml"/><Relationship Id="rId15" Type="http://schemas.openxmlformats.org/officeDocument/2006/relationships/image" Target="NUL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5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94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1655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65582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1446B490-50F8-4EEA-84BF-ED4B3F9022BD}"/>
              </a:ext>
            </a:extLst>
          </p:cNvPr>
          <p:cNvGrpSpPr/>
          <p:nvPr userDrawn="1"/>
        </p:nvGrpSpPr>
        <p:grpSpPr>
          <a:xfrm>
            <a:off x="6287878" y="115007"/>
            <a:ext cx="5742276" cy="451023"/>
            <a:chOff x="6353729" y="329946"/>
            <a:chExt cx="5742276" cy="451023"/>
          </a:xfrm>
        </p:grpSpPr>
        <p:grpSp>
          <p:nvGrpSpPr>
            <p:cNvPr id="15" name="Skupina 14">
              <a:extLst>
                <a:ext uri="{FF2B5EF4-FFF2-40B4-BE49-F238E27FC236}">
                  <a16:creationId xmlns:a16="http://schemas.microsoft.com/office/drawing/2014/main" id="{DD56039D-6C4E-4F36-A9AD-1A5DE065253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D076463-9103-4D9E-86F8-FD67243D0BB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15975688-7C12-499C-A870-E04744A86CD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6" name="Obrázek 15" descr="Obsah obrázku kreslení&#10;&#10;Popis byl vytvořen automaticky">
              <a:extLst>
                <a:ext uri="{FF2B5EF4-FFF2-40B4-BE49-F238E27FC236}">
                  <a16:creationId xmlns:a16="http://schemas.microsoft.com/office/drawing/2014/main" id="{70D84849-79F4-4C81-AEB0-8C902D8C7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010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63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E3009426-EE89-4BCD-81E3-44DE13887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27F14AE-74EC-4EA3-8229-6C3631DCF0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1F413A5-7A19-4D49-8BE0-556EDBD896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372E0-D1EA-4D25-BE4C-23FE088892DD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32CBC7A-0616-4C02-A75F-D4C7DE464A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2686AB-02F8-4E0B-B6D3-14BF5A8FA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2888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0146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94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83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2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77760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821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63949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3.xml"/><Relationship Id="rId7" Type="http://schemas.openxmlformats.org/officeDocument/2006/relationships/image" Target="../media/image4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1.png"/><Relationship Id="rId5" Type="http://schemas.openxmlformats.org/officeDocument/2006/relationships/slideLayout" Target="../slideLayouts/slideLayout62.xml"/><Relationship Id="rId4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96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96.xml"/><Relationship Id="rId4" Type="http://schemas.openxmlformats.org/officeDocument/2006/relationships/chart" Target="../charts/char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96.xml"/><Relationship Id="rId4" Type="http://schemas.openxmlformats.org/officeDocument/2006/relationships/chart" Target="../charts/char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48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4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46.png"/><Relationship Id="rId5" Type="http://schemas.openxmlformats.org/officeDocument/2006/relationships/tags" Target="../tags/tag13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49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51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0397"/>
            <a:ext cx="11905307" cy="1974265"/>
          </a:xfrm>
        </p:spPr>
        <p:txBody>
          <a:bodyPr>
            <a:normAutofit/>
          </a:bodyPr>
          <a:lstStyle/>
          <a:p>
            <a:r>
              <a:rPr lang="cs-CZ" sz="5400" b="1" dirty="0" smtClean="0"/>
              <a:t>VÝVOJ EPIDEMIE COVID-19</a:t>
            </a:r>
          </a:p>
          <a:p>
            <a:r>
              <a:rPr lang="cs-CZ" sz="5400" i="1" dirty="0" smtClean="0"/>
              <a:t>Aktuální data k 6. 3. 2021</a:t>
            </a:r>
            <a:endParaRPr lang="cs-CZ" sz="3900" i="1" dirty="0"/>
          </a:p>
        </p:txBody>
      </p:sp>
    </p:spTree>
    <p:extLst>
      <p:ext uri="{BB962C8B-B14F-4D97-AF65-F5344CB8AC3E}">
        <p14:creationId xmlns:p14="http://schemas.microsoft.com/office/powerpoint/2010/main" val="45938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391886" y="365148"/>
            <a:ext cx="1156149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izikový růst epidemie vytvořil v </a:t>
            </a:r>
            <a:r>
              <a:rPr lang="cs-CZ" sz="3200" b="1" dirty="0" smtClean="0">
                <a:solidFill>
                  <a:prstClr val="black"/>
                </a:solidFill>
                <a:latin typeface="Calibri" panose="020F0502020204030204"/>
              </a:rPr>
              <a:t>uplynulých týdnech významný kontrast mezi regiony Čech a Moravy, přičemž nejvíce postiženými regiony byl kraj Královéhradecký a Karlovarský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prstClr val="black"/>
                </a:solidFill>
                <a:latin typeface="Calibri" panose="020F0502020204030204"/>
              </a:rPr>
              <a:t>V současnosti je zrychleným šířením nákazy zasahováno stále více okresů, velmi rizikovou situaci registrujeme v Plzeňském, Pardubickém a Středočeském kraj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Zátěž </a:t>
            </a:r>
            <a:r>
              <a:rPr kumimoji="0" lang="cs-CZ" sz="3200" b="1" i="0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v nejvíce zasažených regionech je až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2,5 - 3x vyšší než v ostatní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5622632" y="5697752"/>
            <a:ext cx="1099997" cy="7705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407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56370E90-224A-40F5-97BB-C26749BA1A3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09"/>
          <a:stretch/>
        </p:blipFill>
        <p:spPr>
          <a:xfrm>
            <a:off x="8214775" y="1050965"/>
            <a:ext cx="3785400" cy="234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150979D6-F17A-4225-BE63-B5B0F9AA839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5"/>
          <a:stretch/>
        </p:blipFill>
        <p:spPr>
          <a:xfrm>
            <a:off x="4226946" y="1050965"/>
            <a:ext cx="3785400" cy="2320006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216806" y="420230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216806" y="451103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216806" y="481976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216806" y="512848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216806" y="543721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456563" y="410764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456563" y="44189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456563" y="473022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456563" y="5041513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456563" y="5352803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216806" y="574593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216806" y="605466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456563" y="5664093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456563" y="5975385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1907CFD2-3ACF-4FB2-8859-B21D109FB07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89205" y="73275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2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CE3F7488-282C-4715-9E85-0FA3DD5106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98452" y="732755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960904" y="3652021"/>
            <a:ext cx="828897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Významně zvýšené šíření nákazy postupně zasahuje více regionů, nově i na Moravě a Slezsku. Významné nárůsty registrujeme v Jihomoravském kraji a Olomouckém kraji. Postupné šíření lze dát do souvislosti s prokázaným výskytem nakažlivější formy viru, která postupně získává převahu nad předchozími variantami. Vysoké počty nakažených pacientů v původně nejvíce zasažených částech Čech nově stagnují nebo již začínají klesat, proto v celkových populačních přehledech registrujeme zpomalení růstu. Naopak riziko eskalovaného růstu hrozí ve většině okresů moravských regionů – zde je ale možné, že šíření nákazy zabrzdí nově přijatá opatření. </a:t>
            </a:r>
            <a:endParaRPr lang="cs-CZ" dirty="0"/>
          </a:p>
        </p:txBody>
      </p:sp>
      <p:pic>
        <p:nvPicPr>
          <p:cNvPr id="25" name="Picture 2" descr="Map&#10;&#10;Description automatically generated">
            <a:extLst>
              <a:ext uri="{FF2B5EF4-FFF2-40B4-BE49-F238E27FC236}">
                <a16:creationId xmlns:a16="http://schemas.microsoft.com/office/drawing/2014/main" id="{09D3AB36-0B9D-419A-90C7-E1C40140203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6" r="5639"/>
          <a:stretch/>
        </p:blipFill>
        <p:spPr>
          <a:xfrm>
            <a:off x="533897" y="1110371"/>
            <a:ext cx="3755307" cy="2379547"/>
          </a:xfrm>
          <a:prstGeom prst="rect">
            <a:avLst/>
          </a:prstGeom>
        </p:spPr>
      </p:pic>
      <p:sp>
        <p:nvSpPr>
          <p:cNvPr id="26" name="TextBox 29">
            <a:extLst>
              <a:ext uri="{FF2B5EF4-FFF2-40B4-BE49-F238E27FC236}">
                <a16:creationId xmlns:a16="http://schemas.microsoft.com/office/drawing/2014/main" id="{71B2EE80-8AF1-4ABB-B915-6D71863EF81B}"/>
              </a:ext>
            </a:extLst>
          </p:cNvPr>
          <p:cNvSpPr txBox="1"/>
          <p:nvPr/>
        </p:nvSpPr>
        <p:spPr>
          <a:xfrm>
            <a:off x="458499" y="91031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.2.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785774" y="5981656"/>
            <a:ext cx="75951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u="sng" dirty="0"/>
              <a:t>Přehled v současnosti nejvíce zatížených okresů obsahují následující tabulky</a:t>
            </a:r>
            <a:r>
              <a:rPr lang="cs-CZ" dirty="0"/>
              <a:t>. </a:t>
            </a:r>
            <a:endParaRPr lang="cs-CZ" dirty="0"/>
          </a:p>
        </p:txBody>
      </p:sp>
      <p:sp>
        <p:nvSpPr>
          <p:cNvPr id="27" name="Šipka dolů 26"/>
          <p:cNvSpPr/>
          <p:nvPr/>
        </p:nvSpPr>
        <p:spPr>
          <a:xfrm>
            <a:off x="3698337" y="6372299"/>
            <a:ext cx="1181734" cy="4303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0457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442708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Nejvíce zatížené okresy dle nových případů za 14 dní na 100 000 obyvate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C17B0-C8F5-41C1-9847-DD0FB903D5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0997" y="1514354"/>
          <a:ext cx="12060756" cy="5258404"/>
        </p:xfrm>
        <a:graphic>
          <a:graphicData uri="http://schemas.openxmlformats.org/drawingml/2006/table">
            <a:tbl>
              <a:tblPr/>
              <a:tblGrid>
                <a:gridCol w="3796932">
                  <a:extLst>
                    <a:ext uri="{9D8B030D-6E8A-4147-A177-3AD203B41FA5}">
                      <a16:colId xmlns:a16="http://schemas.microsoft.com/office/drawing/2014/main" val="2261931760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183146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372889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115339334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40841201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27163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2467353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472909798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2276695565"/>
                    </a:ext>
                  </a:extLst>
                </a:gridCol>
              </a:tblGrid>
              <a:tr h="27805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az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í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Orli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5023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76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22696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65+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958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65+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8933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tuálně hospitalizova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82689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tuálně hospitalizovaní na JIP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1521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4976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97614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54158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2887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úmrt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252463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úmrt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5230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diagnost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28496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epidemiolog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062139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preventivní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250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</a:t>
                      </a:r>
                      <a:r>
                        <a:rPr lang="cs-CZ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agn</a:t>
                      </a:r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43114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epidemiolog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0000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preventivní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2994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2D96FE6-536C-4631-B0D7-337D6BC1CD7D}"/>
              </a:ext>
            </a:extLst>
          </p:cNvPr>
          <p:cNvSpPr/>
          <p:nvPr/>
        </p:nvSpPr>
        <p:spPr>
          <a:xfrm>
            <a:off x="2601284" y="753610"/>
            <a:ext cx="615462" cy="202223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5C294-81E0-427F-B8B2-D281ED0E6D9A}"/>
              </a:ext>
            </a:extLst>
          </p:cNvPr>
          <p:cNvSpPr txBox="1"/>
          <p:nvPr/>
        </p:nvSpPr>
        <p:spPr>
          <a:xfrm>
            <a:off x="3216746" y="709728"/>
            <a:ext cx="620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nejvíce zatížených okresů dle nových případů za 14 dní na 100 000 obyvatel </a:t>
            </a: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500C9F3A-244F-4641-A4F9-DF075DB5D93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32"/>
          <a:stretch/>
        </p:blipFill>
        <p:spPr>
          <a:xfrm>
            <a:off x="381739" y="653742"/>
            <a:ext cx="1653249" cy="102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10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442708" cy="576000"/>
          </a:xfrm>
        </p:spPr>
        <p:txBody>
          <a:bodyPr/>
          <a:lstStyle/>
          <a:p>
            <a:r>
              <a:rPr lang="cs-CZ" dirty="0"/>
              <a:t>Nejvíce zatížené okresy </a:t>
            </a:r>
            <a:r>
              <a:rPr lang="cs-CZ" dirty="0">
                <a:latin typeface="+mj-lt"/>
              </a:rPr>
              <a:t>dle nových případů za 14 dní na 100 000 obyvate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C17B0-C8F5-41C1-9847-DD0FB903D5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0997" y="1514354"/>
          <a:ext cx="12060756" cy="5355633"/>
        </p:xfrm>
        <a:graphic>
          <a:graphicData uri="http://schemas.openxmlformats.org/drawingml/2006/table">
            <a:tbl>
              <a:tblPr/>
              <a:tblGrid>
                <a:gridCol w="3796932">
                  <a:extLst>
                    <a:ext uri="{9D8B030D-6E8A-4147-A177-3AD203B41FA5}">
                      <a16:colId xmlns:a16="http://schemas.microsoft.com/office/drawing/2014/main" val="2261931760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183146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372889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115339334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40841201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27163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2467353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472909798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2276695565"/>
                    </a:ext>
                  </a:extLst>
                </a:gridCol>
              </a:tblGrid>
              <a:tr h="27805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az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35023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76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22696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958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8933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ě hospitalizova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82689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ě hospitalizovaní na JIP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1521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4976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97614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na JIP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54158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na JIP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2887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mrt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252463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mrt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5230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diagnost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28496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epidemiolog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062139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preventivní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250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diagnost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43114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epidemiolog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0000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preventivní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2994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2D96FE6-536C-4631-B0D7-337D6BC1CD7D}"/>
              </a:ext>
            </a:extLst>
          </p:cNvPr>
          <p:cNvSpPr/>
          <p:nvPr/>
        </p:nvSpPr>
        <p:spPr>
          <a:xfrm>
            <a:off x="2601284" y="753610"/>
            <a:ext cx="615462" cy="202223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5C294-81E0-427F-B8B2-D281ED0E6D9A}"/>
              </a:ext>
            </a:extLst>
          </p:cNvPr>
          <p:cNvSpPr txBox="1"/>
          <p:nvPr/>
        </p:nvSpPr>
        <p:spPr>
          <a:xfrm>
            <a:off x="3216746" y="709728"/>
            <a:ext cx="620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nejvíce zatížených okresů dle nových případů za 14 dní na 100 000 obyvatel </a:t>
            </a:r>
          </a:p>
        </p:txBody>
      </p:sp>
      <p:pic>
        <p:nvPicPr>
          <p:cNvPr id="10" name="Picture 9" descr="Map&#10;&#10;Description automatically generated">
            <a:extLst>
              <a:ext uri="{FF2B5EF4-FFF2-40B4-BE49-F238E27FC236}">
                <a16:creationId xmlns:a16="http://schemas.microsoft.com/office/drawing/2014/main" id="{5D543A05-77B3-4644-A50A-7E29907C86C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32"/>
          <a:stretch/>
        </p:blipFill>
        <p:spPr>
          <a:xfrm>
            <a:off x="381739" y="653742"/>
            <a:ext cx="1653249" cy="102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644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6827568" y="638274"/>
            <a:ext cx="4609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počty pozitivních na COVID-19 ve věku 65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 100 000 obyvatel 65+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7005978" y="3523934"/>
            <a:ext cx="443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hospitalizovaných nezachycený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komunitě, za posledních 14 dní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108505" y="3657029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jednodušené reprodukční číslo*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198233" y="638274"/>
            <a:ext cx="443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počty pozitivních na COVID-19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 100 000 obyvatel)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Chart 25">
            <a:extLst>
              <a:ext uri="{FF2B5EF4-FFF2-40B4-BE49-F238E27FC236}">
                <a16:creationId xmlns:a16="http://schemas.microsoft.com/office/drawing/2014/main" id="{9E443E8B-5A61-43CD-B5EB-DB412E27F190}"/>
              </a:ext>
            </a:extLst>
          </p:cNvPr>
          <p:cNvGraphicFramePr/>
          <p:nvPr>
            <p:extLst/>
          </p:nvPr>
        </p:nvGraphicFramePr>
        <p:xfrm>
          <a:off x="6032508" y="10188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Chart 26">
            <a:extLst>
              <a:ext uri="{FF2B5EF4-FFF2-40B4-BE49-F238E27FC236}">
                <a16:creationId xmlns:a16="http://schemas.microsoft.com/office/drawing/2014/main" id="{16F6E232-846A-403C-8148-EA66E1E754EF}"/>
              </a:ext>
            </a:extLst>
          </p:cNvPr>
          <p:cNvGraphicFramePr/>
          <p:nvPr>
            <p:extLst/>
          </p:nvPr>
        </p:nvGraphicFramePr>
        <p:xfrm>
          <a:off x="6076800" y="38772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Chart 27">
            <a:extLst>
              <a:ext uri="{FF2B5EF4-FFF2-40B4-BE49-F238E27FC236}">
                <a16:creationId xmlns:a16="http://schemas.microsoft.com/office/drawing/2014/main" id="{A6F36DB7-5F77-42FD-9C6A-1FC13D5D3E53}"/>
              </a:ext>
            </a:extLst>
          </p:cNvPr>
          <p:cNvGraphicFramePr/>
          <p:nvPr>
            <p:extLst/>
          </p:nvPr>
        </p:nvGraphicFramePr>
        <p:xfrm>
          <a:off x="500400" y="38772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Chart 28">
            <a:extLst>
              <a:ext uri="{FF2B5EF4-FFF2-40B4-BE49-F238E27FC236}">
                <a16:creationId xmlns:a16="http://schemas.microsoft.com/office/drawing/2014/main" id="{72532355-F2FD-45A1-BC03-25AEA9752BE3}"/>
              </a:ext>
            </a:extLst>
          </p:cNvPr>
          <p:cNvGraphicFramePr/>
          <p:nvPr>
            <p:extLst/>
          </p:nvPr>
        </p:nvGraphicFramePr>
        <p:xfrm>
          <a:off x="381739" y="10188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283244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/>
          </p:nvPr>
        </p:nvGraphicFramePr>
        <p:xfrm>
          <a:off x="8669979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13D0CC33-BD64-4985-9EE0-07593F39629B}"/>
              </a:ext>
            </a:extLst>
          </p:cNvPr>
          <p:cNvGraphicFramePr/>
          <p:nvPr>
            <p:extLst/>
          </p:nvPr>
        </p:nvGraphicFramePr>
        <p:xfrm>
          <a:off x="4562892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10228909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8B896B25-8706-47A6-8E65-88AF593ED3D9}"/>
              </a:ext>
            </a:extLst>
          </p:cNvPr>
          <p:cNvCxnSpPr/>
          <p:nvPr/>
        </p:nvCxnSpPr>
        <p:spPr>
          <a:xfrm>
            <a:off x="6124519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608BDF21-CE7C-45CF-8A6D-13F3C0394004}"/>
              </a:ext>
            </a:extLst>
          </p:cNvPr>
          <p:cNvSpPr txBox="1"/>
          <p:nvPr/>
        </p:nvSpPr>
        <p:spPr>
          <a:xfrm>
            <a:off x="4516943" y="1550430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14 dní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8525935" y="1550430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graphicFrame>
        <p:nvGraphicFramePr>
          <p:cNvPr id="11" name="Tabulka 11">
            <a:extLst>
              <a:ext uri="{FF2B5EF4-FFF2-40B4-BE49-F238E27FC236}">
                <a16:creationId xmlns:a16="http://schemas.microsoft.com/office/drawing/2014/main" id="{5EE7D93E-DD4F-499C-906A-17626AAA3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898726" y="2231923"/>
          <a:ext cx="1299639" cy="3824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9639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638102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696840" y="155043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/>
          </p:nvPr>
        </p:nvGraphicFramePr>
        <p:xfrm>
          <a:off x="130873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904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n-lt"/>
              </a:rPr>
              <a:t>14denní incidence na 100 tisíc </a:t>
            </a:r>
            <a:r>
              <a:rPr lang="cs-CZ" sz="2000" dirty="0" smtClean="0">
                <a:latin typeface="+mn-lt"/>
              </a:rPr>
              <a:t>obyvatel</a:t>
            </a:r>
            <a:endParaRPr lang="cs-CZ" sz="2000" dirty="0">
              <a:latin typeface="+mn-lt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4F86700-D5B2-4E85-A67A-58512B3C1A7E}"/>
              </a:ext>
            </a:extLst>
          </p:cNvPr>
          <p:cNvSpPr txBox="1"/>
          <p:nvPr/>
        </p:nvSpPr>
        <p:spPr>
          <a:xfrm>
            <a:off x="345066" y="967666"/>
            <a:ext cx="60147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incidence na 100 tisíc obyvatel</a:t>
            </a:r>
          </a:p>
        </p:txBody>
      </p:sp>
    </p:spTree>
    <p:extLst>
      <p:ext uri="{BB962C8B-B14F-4D97-AF65-F5344CB8AC3E}">
        <p14:creationId xmlns:p14="http://schemas.microsoft.com/office/powerpoint/2010/main" val="32600608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13D0CC33-BD64-4985-9EE0-07593F39629B}"/>
              </a:ext>
            </a:extLst>
          </p:cNvPr>
          <p:cNvGraphicFramePr/>
          <p:nvPr>
            <p:extLst/>
          </p:nvPr>
        </p:nvGraphicFramePr>
        <p:xfrm>
          <a:off x="4421488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/>
          </p:nvPr>
        </p:nvGraphicFramePr>
        <p:xfrm>
          <a:off x="8632270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10191642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608BDF21-CE7C-45CF-8A6D-13F3C0394004}"/>
              </a:ext>
            </a:extLst>
          </p:cNvPr>
          <p:cNvSpPr txBox="1"/>
          <p:nvPr/>
        </p:nvSpPr>
        <p:spPr>
          <a:xfrm>
            <a:off x="4375539" y="1550430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14 dní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8092301" y="1550430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9C1A6CA-1D15-4225-8203-51BFA04C92D3}"/>
              </a:ext>
            </a:extLst>
          </p:cNvPr>
          <p:cNvSpPr txBox="1"/>
          <p:nvPr/>
        </p:nvSpPr>
        <p:spPr>
          <a:xfrm>
            <a:off x="345066" y="967666"/>
            <a:ext cx="84770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incidence obyvatel 65+ na 100 tisíc obyvatel 65+</a:t>
            </a:r>
          </a:p>
        </p:txBody>
      </p:sp>
      <p:graphicFrame>
        <p:nvGraphicFramePr>
          <p:cNvPr id="11" name="Tabulka 11">
            <a:extLst>
              <a:ext uri="{FF2B5EF4-FFF2-40B4-BE49-F238E27FC236}">
                <a16:creationId xmlns:a16="http://schemas.microsoft.com/office/drawing/2014/main" id="{5EE7D93E-DD4F-499C-906A-17626AAA3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48017" y="2231923"/>
          <a:ext cx="1299639" cy="3824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9639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146232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696840" y="155043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/>
          </p:nvPr>
        </p:nvGraphicFramePr>
        <p:xfrm>
          <a:off x="130873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904" y="2217836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538E2370-FBB4-4A94-B06A-862F3140826B}"/>
              </a:ext>
            </a:extLst>
          </p:cNvPr>
          <p:cNvCxnSpPr/>
          <p:nvPr/>
        </p:nvCxnSpPr>
        <p:spPr>
          <a:xfrm>
            <a:off x="6404846" y="2212914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14denní incidence 65+ na 100 tisíc obyvatel 65</a:t>
            </a:r>
            <a:r>
              <a:rPr lang="cs-CZ" sz="2000" dirty="0" smtClean="0">
                <a:latin typeface="+mj-lt"/>
              </a:rPr>
              <a:t>+</a:t>
            </a:r>
            <a:endParaRPr lang="cs-CZ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2053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/>
          </p:nvPr>
        </p:nvGraphicFramePr>
        <p:xfrm>
          <a:off x="823634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13D0CC33-BD64-4985-9EE0-07593F39629B}"/>
              </a:ext>
            </a:extLst>
          </p:cNvPr>
          <p:cNvGraphicFramePr/>
          <p:nvPr>
            <p:extLst/>
          </p:nvPr>
        </p:nvGraphicFramePr>
        <p:xfrm>
          <a:off x="4515758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9804424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8B896B25-8706-47A6-8E65-88AF593ED3D9}"/>
              </a:ext>
            </a:extLst>
          </p:cNvPr>
          <p:cNvCxnSpPr/>
          <p:nvPr/>
        </p:nvCxnSpPr>
        <p:spPr>
          <a:xfrm>
            <a:off x="6326288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608BDF21-CE7C-45CF-8A6D-13F3C0394004}"/>
              </a:ext>
            </a:extLst>
          </p:cNvPr>
          <p:cNvSpPr txBox="1"/>
          <p:nvPr/>
        </p:nvSpPr>
        <p:spPr>
          <a:xfrm>
            <a:off x="4469809" y="1550430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14 dní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8092301" y="1550430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9C1A6CA-1D15-4225-8203-51BFA04C92D3}"/>
              </a:ext>
            </a:extLst>
          </p:cNvPr>
          <p:cNvSpPr txBox="1"/>
          <p:nvPr/>
        </p:nvSpPr>
        <p:spPr>
          <a:xfrm>
            <a:off x="345066" y="967666"/>
            <a:ext cx="84770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incidence obyvatel 75+ na 100 tisíc obyvatel 75+</a:t>
            </a:r>
          </a:p>
        </p:txBody>
      </p:sp>
      <p:graphicFrame>
        <p:nvGraphicFramePr>
          <p:cNvPr id="11" name="Tabulka 11">
            <a:extLst>
              <a:ext uri="{FF2B5EF4-FFF2-40B4-BE49-F238E27FC236}">
                <a16:creationId xmlns:a16="http://schemas.microsoft.com/office/drawing/2014/main" id="{5EE7D93E-DD4F-499C-906A-17626AAA3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115938" y="2231923"/>
          <a:ext cx="1299639" cy="3824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9639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322792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696840" y="155043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/>
          </p:nvPr>
        </p:nvGraphicFramePr>
        <p:xfrm>
          <a:off x="130873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904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14denní incidence 75+ na 100 tisíc obyvatel 75</a:t>
            </a:r>
            <a:r>
              <a:rPr lang="cs-CZ" sz="2000" dirty="0" smtClean="0">
                <a:latin typeface="+mj-lt"/>
              </a:rPr>
              <a:t>+</a:t>
            </a:r>
            <a:endParaRPr lang="cs-CZ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70539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5028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 smtClean="0"/>
              <a:t>Vybraná mezinárodní data a srovnání</a:t>
            </a:r>
          </a:p>
        </p:txBody>
      </p:sp>
    </p:spTree>
    <p:extLst>
      <p:ext uri="{BB962C8B-B14F-4D97-AF65-F5344CB8AC3E}">
        <p14:creationId xmlns:p14="http://schemas.microsoft.com/office/powerpoint/2010/main" val="250402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391886" y="365148"/>
            <a:ext cx="1156149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3200" b="1" dirty="0" smtClean="0">
                <a:solidFill>
                  <a:prstClr val="black"/>
                </a:solidFill>
              </a:rPr>
              <a:t>Rizikový </a:t>
            </a:r>
            <a:r>
              <a:rPr lang="cs-CZ" sz="3200" b="1" dirty="0">
                <a:solidFill>
                  <a:prstClr val="black"/>
                </a:solidFill>
              </a:rPr>
              <a:t>vývoj epidemie probíhá s různou intenzitou a v různé fázi ve všech státech Evropy, a státy přijímají obdobná opatření ve snaze zabránit zahlcení zdravotnického systému. </a:t>
            </a:r>
            <a:endParaRPr lang="cs-CZ" sz="3200" b="1" dirty="0" smtClean="0">
              <a:solidFill>
                <a:prstClr val="black"/>
              </a:solidFill>
            </a:endParaRPr>
          </a:p>
          <a:p>
            <a:pPr algn="ctr">
              <a:defRPr/>
            </a:pPr>
            <a:endParaRPr lang="cs-CZ" sz="3200" b="1" dirty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cs-CZ" sz="3200" b="1" dirty="0" smtClean="0">
                <a:solidFill>
                  <a:srgbClr val="C00000"/>
                </a:solidFill>
              </a:rPr>
              <a:t>Objektivní realitou je, </a:t>
            </a:r>
            <a:r>
              <a:rPr lang="cs-CZ" sz="3200" b="1" dirty="0">
                <a:solidFill>
                  <a:srgbClr val="C00000"/>
                </a:solidFill>
              </a:rPr>
              <a:t>že </a:t>
            </a:r>
            <a:r>
              <a:rPr lang="cs-CZ" sz="3200" b="1" dirty="0" smtClean="0">
                <a:solidFill>
                  <a:srgbClr val="C00000"/>
                </a:solidFill>
              </a:rPr>
              <a:t>Česká republika se nyní řadí k nejvíce zatížených státům Evropy. </a:t>
            </a:r>
          </a:p>
          <a:p>
            <a:pPr algn="ctr">
              <a:defRPr/>
            </a:pPr>
            <a:endParaRPr lang="cs-CZ" sz="3200" b="1" dirty="0">
              <a:solidFill>
                <a:srgbClr val="C00000"/>
              </a:solidFill>
            </a:endParaRPr>
          </a:p>
          <a:p>
            <a:pPr algn="ctr">
              <a:defRPr/>
            </a:pPr>
            <a:r>
              <a:rPr lang="cs-CZ" sz="3200" b="1" dirty="0" smtClean="0">
                <a:solidFill>
                  <a:srgbClr val="C00000"/>
                </a:solidFill>
              </a:rPr>
              <a:t>V současnosti je z většiny států Evropy hlášen relativní nárůst počtu potvrzených případů (rozdíly 5- . 8. týden 2021)</a:t>
            </a:r>
            <a:endParaRPr lang="cs-CZ" sz="3200" b="1" dirty="0">
              <a:solidFill>
                <a:srgbClr val="C00000"/>
              </a:solidFill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5622632" y="5293991"/>
            <a:ext cx="1099997" cy="7705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936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335591" y="2857242"/>
            <a:ext cx="1143461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měř všech regionech ČR zátěž nemocnic významně přesahuje maxima z podzimu 2020 a zátěž intenzivní péče setrvale narůstá. Denně je nově diagnostikováno více než 2000 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tenciálně zranitelných pacientů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é trendy jsou důsledkem postupujícího šíření nakažlivější formy viru a zasahují postupně většinu regionů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5277046" y="2039540"/>
            <a:ext cx="1551709" cy="4972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152435" y="165648"/>
            <a:ext cx="1180093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stav epidemie je velmi rizikový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z hlediska zátěže nemocniční péče </a:t>
            </a:r>
            <a:endParaRPr kumimoji="0" lang="cs-CZ" sz="4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711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/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3.2021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/>
        </p:nvSpPr>
        <p:spPr>
          <a:xfrm>
            <a:off x="8988551" y="2641600"/>
            <a:ext cx="2986781" cy="334433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změnu týdenního kumulativního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onemocnění v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.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nu vs.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nu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nu vs.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nu roku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Obdélník 9"/>
          <p:cNvSpPr/>
          <p:nvPr/>
        </p:nvSpPr>
        <p:spPr>
          <a:xfrm rot="16200000">
            <a:off x="3530271" y="5892784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8660504" y="964406"/>
            <a:ext cx="335369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změna v kumulativním počtu nově diagnostikovaných případů ukazuje na dynamiku šíření nákazy v čase. Data jsou zatížena chybou danou různým vykazováním hodnot ve vánočním a novoročním období. </a:t>
            </a:r>
          </a:p>
        </p:txBody>
      </p:sp>
    </p:spTree>
    <p:extLst>
      <p:ext uri="{BB962C8B-B14F-4D97-AF65-F5344CB8AC3E}">
        <p14:creationId xmlns:p14="http://schemas.microsoft.com/office/powerpoint/2010/main" val="23926939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/>
          <p:cNvSpPr txBox="1"/>
          <p:nvPr/>
        </p:nvSpPr>
        <p:spPr>
          <a:xfrm>
            <a:off x="833967" y="838231"/>
            <a:ext cx="10524067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ovnání dat 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období 25.1.—28.2. 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rámci EU a EHP ukazuje, že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nepatří k zemím, kde se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</a:t>
            </a: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lo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uje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patří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sto 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29 sledovaných zemí s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708 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 při hodnocení od 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.1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 do 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2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. Výrazně většího počtu dosahuje pouze Dánsko, Rakousko a menší státy EU (Kypr, Lucembursko). Počet realizovaných testů narostl na počátku ledna a přispěl tak i k vyššímu počtu pozitivních záchytů nemoci. </a:t>
            </a:r>
          </a:p>
        </p:txBody>
      </p:sp>
      <p:sp>
        <p:nvSpPr>
          <p:cNvPr id="8" name="Šipka dolů 7"/>
          <p:cNvSpPr/>
          <p:nvPr/>
        </p:nvSpPr>
        <p:spPr>
          <a:xfrm>
            <a:off x="5548312" y="2432108"/>
            <a:ext cx="1095375" cy="11144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</p:spTree>
    <p:extLst>
      <p:ext uri="{BB962C8B-B14F-4D97-AF65-F5344CB8AC3E}">
        <p14:creationId xmlns:p14="http://schemas.microsoft.com/office/powerpoint/2010/main" val="20351584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v současnosti jednoznačně patří mezi země s nadprůměrným počtem test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894" y="724656"/>
            <a:ext cx="8627761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405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/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 smtClean="0"/>
                        <a:t>25.1</a:t>
                      </a:r>
                      <a:r>
                        <a:rPr lang="cs-CZ" sz="1400" b="1" dirty="0"/>
                        <a:t>. </a:t>
                      </a:r>
                      <a:r>
                        <a:rPr lang="cs-CZ" sz="1400" b="1" dirty="0" smtClean="0"/>
                        <a:t>2021—28.2</a:t>
                      </a:r>
                      <a:r>
                        <a:rPr lang="cs-CZ" sz="1400" b="1" dirty="0"/>
                        <a:t>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5 83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 45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*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 39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 27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 05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7620" marR="7620" marT="7620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708</a:t>
                      </a:r>
                    </a:p>
                  </a:txBody>
                  <a:tcPr marL="7620" marR="7620" marT="7620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341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852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761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42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205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418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39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25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92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</a:t>
            </a:r>
            <a:r>
              <a:rPr lang="cs-CZ" sz="2000" u="sng" dirty="0" smtClean="0">
                <a:latin typeface="+mj-lt"/>
              </a:rPr>
              <a:t>25.1</a:t>
            </a:r>
            <a:r>
              <a:rPr lang="cs-CZ" sz="2000" u="sng" dirty="0">
                <a:latin typeface="+mj-lt"/>
              </a:rPr>
              <a:t>. 2021 do </a:t>
            </a:r>
            <a:r>
              <a:rPr lang="cs-CZ" sz="2000" u="sng" dirty="0" smtClean="0">
                <a:latin typeface="+mj-lt"/>
              </a:rPr>
              <a:t>28.2.2021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/>
          </p:nvPr>
        </p:nvGraphicFramePr>
        <p:xfrm>
          <a:off x="6058960" y="857516"/>
          <a:ext cx="5013663" cy="4998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 smtClean="0"/>
                        <a:t>25.1</a:t>
                      </a:r>
                      <a:r>
                        <a:rPr lang="cs-CZ" sz="1400" b="1" dirty="0"/>
                        <a:t>. </a:t>
                      </a:r>
                      <a:r>
                        <a:rPr lang="cs-CZ" sz="1400" b="1" dirty="0" smtClean="0"/>
                        <a:t>2021—28.2</a:t>
                      </a:r>
                      <a:r>
                        <a:rPr lang="cs-CZ" sz="1400" b="1" dirty="0"/>
                        <a:t>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89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85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89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02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92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23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01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63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43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33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15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99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76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86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6058960" y="5924362"/>
            <a:ext cx="501366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Švédska nejsou dostupné údaje o počtu provedených testů za 8. týden roku </a:t>
            </a:r>
            <a:r>
              <a:rPr kumimoji="0" lang="cs-CZ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. U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Rakouska chybí údaj za 6. týden roku 2021, proto </a:t>
            </a:r>
            <a:r>
              <a:rPr kumimoji="0" lang="cs-CZ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této země pro tento týden použit údaj z přechozí verze dat ECDC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/>
        </p:nvSpPr>
        <p:spPr>
          <a:xfrm>
            <a:off x="775744" y="6289442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3.2021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6160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rmAutofit/>
          </a:bodyPr>
          <a:lstStyle/>
          <a:p>
            <a:r>
              <a:rPr lang="cs-CZ" sz="5400" b="1" dirty="0" smtClean="0"/>
              <a:t>Rizikový vývoj epidemie nevyhnutelně navyšuje zátěž nemocnic</a:t>
            </a:r>
          </a:p>
        </p:txBody>
      </p:sp>
    </p:spTree>
    <p:extLst>
      <p:ext uri="{BB962C8B-B14F-4D97-AF65-F5344CB8AC3E}">
        <p14:creationId xmlns:p14="http://schemas.microsoft.com/office/powerpoint/2010/main" val="108549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tále narůstající</a:t>
            </a: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počet denně nově nakažených potenciálně zranitelných pacientů zvyšuje riziko zátěže nemocnic </a:t>
            </a:r>
            <a:endParaRPr kumimoji="0" lang="cs-CZ" sz="3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/>
        </p:nvSpPr>
        <p:spPr>
          <a:xfrm>
            <a:off x="1849727" y="19932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544976"/>
              </p:ext>
            </p:extLst>
          </p:nvPr>
        </p:nvGraphicFramePr>
        <p:xfrm>
          <a:off x="4780229" y="1318755"/>
          <a:ext cx="6406083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</a:t>
                      </a:r>
                      <a:r>
                        <a:rPr lang="cs-CZ" sz="2800" b="1" u="sng" dirty="0" smtClean="0">
                          <a:solidFill>
                            <a:srgbClr val="C00000"/>
                          </a:solidFill>
                          <a:latin typeface="+mn-lt"/>
                        </a:rPr>
                        <a:t>+ </a:t>
                      </a:r>
                      <a:endParaRPr lang="cs-CZ" sz="28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 </a:t>
                      </a:r>
                      <a:r>
                        <a:rPr lang="cs-CZ" sz="2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19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12 283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23 212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8869451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8050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tále narůstající počet denně nově nakažených potenciálně zranitelných pacientů zvyšuje riziko zátěže nemocnic </a:t>
            </a:r>
            <a:endParaRPr kumimoji="0" lang="cs-CZ" sz="3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/>
        </p:nvSpPr>
        <p:spPr>
          <a:xfrm>
            <a:off x="1849727" y="19932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5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586559"/>
              </p:ext>
            </p:extLst>
          </p:nvPr>
        </p:nvGraphicFramePr>
        <p:xfrm>
          <a:off x="4780229" y="1318755"/>
          <a:ext cx="6406083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</a:t>
                      </a:r>
                      <a:r>
                        <a:rPr lang="cs-CZ" sz="2800" b="1" u="sng" dirty="0" smtClean="0">
                          <a:solidFill>
                            <a:srgbClr val="C00000"/>
                          </a:solidFill>
                          <a:latin typeface="+mn-lt"/>
                        </a:rPr>
                        <a:t>+ </a:t>
                      </a:r>
                      <a:endParaRPr lang="cs-CZ" sz="28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cs-CZ" sz="2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526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4 </a:t>
                      </a:r>
                      <a:r>
                        <a:rPr lang="cs-CZ" sz="2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817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9 335</a:t>
                      </a:r>
                      <a:endParaRPr lang="cs-CZ" sz="28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E9B74E55-0A8D-4F0F-B9CB-C2A125BCE9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7317842"/>
              </p:ext>
            </p:extLst>
          </p:nvPr>
        </p:nvGraphicFramePr>
        <p:xfrm>
          <a:off x="89204" y="2942959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9487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325" y="365125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3400" b="1" dirty="0">
                <a:latin typeface="+mn-lt"/>
              </a:rPr>
              <a:t>Aktuální </a:t>
            </a:r>
            <a:r>
              <a:rPr lang="cs-CZ" sz="3400" b="1" dirty="0" smtClean="0">
                <a:latin typeface="+mn-lt"/>
              </a:rPr>
              <a:t>počty </a:t>
            </a:r>
            <a:r>
              <a:rPr lang="en-CZ" sz="3400" b="1" dirty="0" smtClean="0">
                <a:latin typeface="+mn-lt"/>
              </a:rPr>
              <a:t>hospitalizovaných</a:t>
            </a:r>
            <a:r>
              <a:rPr lang="cs-CZ" sz="3400" b="1" dirty="0" smtClean="0">
                <a:latin typeface="+mn-lt"/>
              </a:rPr>
              <a:t> pacientů jsou extrémní</a:t>
            </a:r>
            <a:br>
              <a:rPr lang="cs-CZ" sz="3400" b="1" dirty="0" smtClean="0">
                <a:latin typeface="+mn-lt"/>
              </a:rPr>
            </a:br>
            <a:r>
              <a:rPr lang="cs-CZ" sz="3400" b="1" dirty="0" smtClean="0">
                <a:latin typeface="+mn-lt"/>
              </a:rPr>
              <a:t>a zejména v segmentu vysoce intenzivní péče začínají v nejvíce zatížených regionech limitně vyčerpávat dostupné kapacity. </a:t>
            </a:r>
            <a:r>
              <a:rPr lang="en-CZ" sz="3400" b="1" dirty="0"/>
              <a:t/>
            </a:r>
            <a:br>
              <a:rPr lang="en-CZ" sz="3400" b="1" dirty="0"/>
            </a:br>
            <a:endParaRPr lang="en-CZ" sz="34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4753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b="1" dirty="0">
                <a:solidFill>
                  <a:srgbClr val="FF0000"/>
                </a:solidFill>
              </a:rPr>
              <a:t>8 </a:t>
            </a:r>
            <a:r>
              <a:rPr lang="cs-CZ" sz="5700" b="1" dirty="0" smtClean="0">
                <a:solidFill>
                  <a:srgbClr val="FF0000"/>
                </a:solidFill>
              </a:rPr>
              <a:t>219</a:t>
            </a:r>
            <a:r>
              <a:rPr lang="en-CZ" sz="5700" dirty="0" smtClean="0">
                <a:solidFill>
                  <a:srgbClr val="FF0000"/>
                </a:solidFill>
              </a:rPr>
              <a:t>↑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en-CZ" sz="5700" dirty="0">
                <a:solidFill>
                  <a:srgbClr val="FF0000"/>
                </a:solidFill>
              </a:rPr>
              <a:t>1 </a:t>
            </a:r>
            <a:r>
              <a:rPr lang="cs-CZ" sz="5700" dirty="0">
                <a:solidFill>
                  <a:srgbClr val="FF0000"/>
                </a:solidFill>
              </a:rPr>
              <a:t>610</a:t>
            </a:r>
            <a:r>
              <a:rPr lang="en-CZ" sz="5700" dirty="0">
                <a:solidFill>
                  <a:srgbClr val="FF0000"/>
                </a:solidFill>
              </a:rPr>
              <a:t>↑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 smtClean="0">
                <a:solidFill>
                  <a:srgbClr val="FF0000"/>
                </a:solidFill>
              </a:rPr>
              <a:t>827</a:t>
            </a:r>
            <a:r>
              <a:rPr lang="en-CZ" sz="5700" dirty="0" smtClean="0">
                <a:solidFill>
                  <a:srgbClr val="FF0000"/>
                </a:solidFill>
              </a:rPr>
              <a:t>↑   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20</a:t>
            </a:r>
            <a:r>
              <a:rPr lang="en-CZ" sz="5700" dirty="0" smtClean="0">
                <a:solidFill>
                  <a:srgbClr val="FF0000"/>
                </a:solidFill>
              </a:rPr>
              <a:t>  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329381" y="1915175"/>
            <a:ext cx="1403927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ovéPole 2"/>
          <p:cNvSpPr txBox="1"/>
          <p:nvPr/>
        </p:nvSpPr>
        <p:spPr>
          <a:xfrm>
            <a:off x="7761721" y="2307720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chemeClr val="bg1"/>
                </a:solidFill>
              </a:rPr>
              <a:t>Stav k 6.3. 2021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887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ovéPole 73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20075" y="647785"/>
            <a:ext cx="121042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ůstaj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73E72932-85CE-4AF4-95A5-177F95A57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60537" cy="576000"/>
          </a:xfrm>
        </p:spPr>
        <p:txBody>
          <a:bodyPr/>
          <a:lstStyle/>
          <a:p>
            <a:r>
              <a:rPr lang="cs-CZ" dirty="0"/>
              <a:t>Počty hospitalizovaných pacientů na JIP: týdenní </a:t>
            </a:r>
            <a:r>
              <a:rPr lang="cs-CZ" dirty="0" smtClean="0"/>
              <a:t>vývoj</a:t>
            </a:r>
            <a:endParaRPr lang="cs-CZ" dirty="0"/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8F6B4F44-A306-43FB-BCD8-7E70F4AB7516}"/>
              </a:ext>
            </a:extLst>
          </p:cNvPr>
          <p:cNvSpPr txBox="1"/>
          <p:nvPr/>
        </p:nvSpPr>
        <p:spPr>
          <a:xfrm>
            <a:off x="9648302" y="2191639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D5DA6337-AD29-4C57-A848-C7E248462FBF}"/>
              </a:ext>
            </a:extLst>
          </p:cNvPr>
          <p:cNvSpPr txBox="1"/>
          <p:nvPr/>
        </p:nvSpPr>
        <p:spPr>
          <a:xfrm>
            <a:off x="361249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6CFCB8D-6D13-4132-9D60-3E1231BD1C30}"/>
              </a:ext>
            </a:extLst>
          </p:cNvPr>
          <p:cNvSpPr txBox="1"/>
          <p:nvPr/>
        </p:nvSpPr>
        <p:spPr>
          <a:xfrm>
            <a:off x="5685899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4CDAA93-9191-4560-8D85-EA032F9F88E5}"/>
              </a:ext>
            </a:extLst>
          </p:cNvPr>
          <p:cNvSpPr txBox="1"/>
          <p:nvPr/>
        </p:nvSpPr>
        <p:spPr>
          <a:xfrm>
            <a:off x="766424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0963254-054F-46F1-9E95-7F3249D593E3}"/>
              </a:ext>
            </a:extLst>
          </p:cNvPr>
          <p:cNvSpPr txBox="1"/>
          <p:nvPr/>
        </p:nvSpPr>
        <p:spPr>
          <a:xfrm>
            <a:off x="1623365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8" name="Chart 4">
            <a:extLst>
              <a:ext uri="{FF2B5EF4-FFF2-40B4-BE49-F238E27FC236}">
                <a16:creationId xmlns:a16="http://schemas.microsoft.com/office/drawing/2014/main" id="{76135A80-494C-41DE-AB54-AC2EBA70A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3981578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Obdélník 38">
            <a:extLst>
              <a:ext uri="{FF2B5EF4-FFF2-40B4-BE49-F238E27FC236}">
                <a16:creationId xmlns:a16="http://schemas.microsoft.com/office/drawing/2014/main" id="{B8676F53-AEF9-47D4-A9C4-D1151D58643E}"/>
              </a:ext>
            </a:extLst>
          </p:cNvPr>
          <p:cNvSpPr/>
          <p:nvPr/>
        </p:nvSpPr>
        <p:spPr>
          <a:xfrm>
            <a:off x="971895" y="3333354"/>
            <a:ext cx="2827107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izace na JIP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6F6AB7EF-4899-452C-B7DF-5556389BF739}"/>
              </a:ext>
            </a:extLst>
          </p:cNvPr>
          <p:cNvSpPr/>
          <p:nvPr/>
        </p:nvSpPr>
        <p:spPr>
          <a:xfrm>
            <a:off x="3008871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CD83C273-E3F1-4BBA-8F6F-3FC5A05E2076}"/>
              </a:ext>
            </a:extLst>
          </p:cNvPr>
          <p:cNvSpPr/>
          <p:nvPr/>
        </p:nvSpPr>
        <p:spPr>
          <a:xfrm>
            <a:off x="5079481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A469768C-FBBD-46BA-9A77-68FEC513CEFD}"/>
              </a:ext>
            </a:extLst>
          </p:cNvPr>
          <p:cNvSpPr/>
          <p:nvPr/>
        </p:nvSpPr>
        <p:spPr>
          <a:xfrm>
            <a:off x="7132339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Zahnutá šipka nahoru 25">
            <a:extLst>
              <a:ext uri="{FF2B5EF4-FFF2-40B4-BE49-F238E27FC236}">
                <a16:creationId xmlns:a16="http://schemas.microsoft.com/office/drawing/2014/main" id="{88BD0877-9592-4F0A-B19B-AE5A8ECAD723}"/>
              </a:ext>
            </a:extLst>
          </p:cNvPr>
          <p:cNvSpPr/>
          <p:nvPr/>
        </p:nvSpPr>
        <p:spPr>
          <a:xfrm>
            <a:off x="9165560" y="2261711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Zahnutá šipka nahoru 25">
            <a:extLst>
              <a:ext uri="{FF2B5EF4-FFF2-40B4-BE49-F238E27FC236}">
                <a16:creationId xmlns:a16="http://schemas.microsoft.com/office/drawing/2014/main" id="{A0010FFE-2EBD-4592-9882-B22ABB1159EC}"/>
              </a:ext>
            </a:extLst>
          </p:cNvPr>
          <p:cNvSpPr/>
          <p:nvPr/>
        </p:nvSpPr>
        <p:spPr>
          <a:xfrm>
            <a:off x="901603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9" name="Tabulka 4">
            <a:extLst>
              <a:ext uri="{FF2B5EF4-FFF2-40B4-BE49-F238E27FC236}">
                <a16:creationId xmlns:a16="http://schemas.microsoft.com/office/drawing/2014/main" id="{7927CD79-AD75-406D-8782-F1FA39AF58E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059" y="1819596"/>
          <a:ext cx="11880000" cy="382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26191376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820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2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8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5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4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1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6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sp>
        <p:nvSpPr>
          <p:cNvPr id="51" name="Šipka doprava 58">
            <a:extLst>
              <a:ext uri="{FF2B5EF4-FFF2-40B4-BE49-F238E27FC236}">
                <a16:creationId xmlns:a16="http://schemas.microsoft.com/office/drawing/2014/main" id="{5621832B-43EB-4EBF-A496-C1E07BC457D1}"/>
              </a:ext>
            </a:extLst>
          </p:cNvPr>
          <p:cNvSpPr/>
          <p:nvPr/>
        </p:nvSpPr>
        <p:spPr>
          <a:xfrm rot="20503466" flipV="1">
            <a:off x="11208161" y="3073110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B9A5D5F2-7082-45A2-AD21-3CCDD1E7C63B}"/>
              </a:ext>
            </a:extLst>
          </p:cNvPr>
          <p:cNvSpPr txBox="1"/>
          <p:nvPr/>
        </p:nvSpPr>
        <p:spPr>
          <a:xfrm>
            <a:off x="162839" y="1222374"/>
            <a:ext cx="196282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. 1.–27. 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2CD30F2-D9D1-48DC-848F-32483FEE5900}"/>
              </a:ext>
            </a:extLst>
          </p:cNvPr>
          <p:cNvSpPr txBox="1"/>
          <p:nvPr/>
        </p:nvSpPr>
        <p:spPr>
          <a:xfrm>
            <a:off x="2214439" y="122237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. 1.–3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482887-7206-4238-8E93-D3935E5E87F7}"/>
              </a:ext>
            </a:extLst>
          </p:cNvPr>
          <p:cNvSpPr txBox="1"/>
          <p:nvPr/>
        </p:nvSpPr>
        <p:spPr>
          <a:xfrm>
            <a:off x="4181563" y="1216115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2.–10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71DB63E-584F-459A-9985-07A8CCABC47B}"/>
              </a:ext>
            </a:extLst>
          </p:cNvPr>
          <p:cNvSpPr txBox="1"/>
          <p:nvPr/>
        </p:nvSpPr>
        <p:spPr>
          <a:xfrm>
            <a:off x="6145700" y="1216115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. 2.–17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217AC3B-F8BA-454D-9671-B35181092194}"/>
              </a:ext>
            </a:extLst>
          </p:cNvPr>
          <p:cNvSpPr txBox="1"/>
          <p:nvPr/>
        </p:nvSpPr>
        <p:spPr>
          <a:xfrm>
            <a:off x="8126057" y="1216115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 2.–24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18B7D080-EB00-49D6-9B68-DE56FF63B7F4}"/>
              </a:ext>
            </a:extLst>
          </p:cNvPr>
          <p:cNvSpPr txBox="1"/>
          <p:nvPr/>
        </p:nvSpPr>
        <p:spPr>
          <a:xfrm>
            <a:off x="10106414" y="1214912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. 2.–3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30" name="Tabulka 6">
            <a:extLst>
              <a:ext uri="{FF2B5EF4-FFF2-40B4-BE49-F238E27FC236}">
                <a16:creationId xmlns:a16="http://schemas.microsoft.com/office/drawing/2014/main" id="{DAD62623-1088-4E53-8E5C-621415D00B4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19572" y="2154387"/>
          <a:ext cx="9481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42561082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09467333"/>
                    </a:ext>
                  </a:extLst>
                </a:gridCol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,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,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,8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82355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Chart 4">
            <a:extLst>
              <a:ext uri="{FF2B5EF4-FFF2-40B4-BE49-F238E27FC236}">
                <a16:creationId xmlns:a16="http://schemas.microsoft.com/office/drawing/2014/main" id="{DC4728A6-F03E-4D5B-B547-569A6C54223C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8" name="TextovéPole 67">
            <a:extLst>
              <a:ext uri="{FF2B5EF4-FFF2-40B4-BE49-F238E27FC236}">
                <a16:creationId xmlns:a16="http://schemas.microsoft.com/office/drawing/2014/main" id="{CB3AC5FA-01F8-4262-A1CC-2973AECAA4C7}"/>
              </a:ext>
            </a:extLst>
          </p:cNvPr>
          <p:cNvSpPr txBox="1"/>
          <p:nvPr/>
        </p:nvSpPr>
        <p:spPr>
          <a:xfrm>
            <a:off x="57147" y="647785"/>
            <a:ext cx="119744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s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V/ECMO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ČR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ůstaj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6639CD8-348D-49C3-9D78-A309B2CEC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068632" cy="576000"/>
          </a:xfrm>
        </p:spPr>
        <p:txBody>
          <a:bodyPr/>
          <a:lstStyle/>
          <a:p>
            <a:r>
              <a:rPr lang="cs-CZ" dirty="0"/>
              <a:t>Počty </a:t>
            </a:r>
            <a:r>
              <a:rPr lang="cs-CZ" dirty="0" err="1"/>
              <a:t>hosp</a:t>
            </a:r>
            <a:r>
              <a:rPr lang="cs-CZ" dirty="0"/>
              <a:t>. pacientů s UPV+ECMO: týdenní </a:t>
            </a:r>
            <a:r>
              <a:rPr lang="cs-CZ" dirty="0" smtClean="0"/>
              <a:t>vývoj</a:t>
            </a:r>
            <a:endParaRPr lang="cs-CZ" dirty="0"/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9AF6A37-0227-4576-9CD3-A361A3D3F265}"/>
              </a:ext>
            </a:extLst>
          </p:cNvPr>
          <p:cNvSpPr txBox="1"/>
          <p:nvPr/>
        </p:nvSpPr>
        <p:spPr>
          <a:xfrm>
            <a:off x="9648302" y="2191639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9A3156A8-775E-4357-A5CC-0B114A123E28}"/>
              </a:ext>
            </a:extLst>
          </p:cNvPr>
          <p:cNvSpPr txBox="1"/>
          <p:nvPr/>
        </p:nvSpPr>
        <p:spPr>
          <a:xfrm>
            <a:off x="361249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FD94316-F8A3-4352-AE09-73088702D897}"/>
              </a:ext>
            </a:extLst>
          </p:cNvPr>
          <p:cNvSpPr txBox="1"/>
          <p:nvPr/>
        </p:nvSpPr>
        <p:spPr>
          <a:xfrm>
            <a:off x="5685899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CABC8094-5020-4E74-A081-10CBADEC680A}"/>
              </a:ext>
            </a:extLst>
          </p:cNvPr>
          <p:cNvSpPr txBox="1"/>
          <p:nvPr/>
        </p:nvSpPr>
        <p:spPr>
          <a:xfrm>
            <a:off x="766424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B084A291-E9FC-49DD-A776-68553F578958}"/>
              </a:ext>
            </a:extLst>
          </p:cNvPr>
          <p:cNvSpPr txBox="1"/>
          <p:nvPr/>
        </p:nvSpPr>
        <p:spPr>
          <a:xfrm>
            <a:off x="1623365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Obdélník 46">
            <a:extLst>
              <a:ext uri="{FF2B5EF4-FFF2-40B4-BE49-F238E27FC236}">
                <a16:creationId xmlns:a16="http://schemas.microsoft.com/office/drawing/2014/main" id="{FDAE6B8F-86DE-4835-A056-56DCBAD57FE7}"/>
              </a:ext>
            </a:extLst>
          </p:cNvPr>
          <p:cNvSpPr/>
          <p:nvPr/>
        </p:nvSpPr>
        <p:spPr>
          <a:xfrm>
            <a:off x="971896" y="3333353"/>
            <a:ext cx="3600104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izace s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V/ECMO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Zahnutá šipka nahoru 25">
            <a:extLst>
              <a:ext uri="{FF2B5EF4-FFF2-40B4-BE49-F238E27FC236}">
                <a16:creationId xmlns:a16="http://schemas.microsoft.com/office/drawing/2014/main" id="{B16C4DEC-5A82-47EE-AEBA-C52015838C0C}"/>
              </a:ext>
            </a:extLst>
          </p:cNvPr>
          <p:cNvSpPr/>
          <p:nvPr/>
        </p:nvSpPr>
        <p:spPr>
          <a:xfrm>
            <a:off x="3008871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Zahnutá šipka nahoru 25">
            <a:extLst>
              <a:ext uri="{FF2B5EF4-FFF2-40B4-BE49-F238E27FC236}">
                <a16:creationId xmlns:a16="http://schemas.microsoft.com/office/drawing/2014/main" id="{2EAD7B52-FF09-4676-A553-97F175473CDF}"/>
              </a:ext>
            </a:extLst>
          </p:cNvPr>
          <p:cNvSpPr/>
          <p:nvPr/>
        </p:nvSpPr>
        <p:spPr>
          <a:xfrm>
            <a:off x="5079481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Zahnutá šipka nahoru 25">
            <a:extLst>
              <a:ext uri="{FF2B5EF4-FFF2-40B4-BE49-F238E27FC236}">
                <a16:creationId xmlns:a16="http://schemas.microsoft.com/office/drawing/2014/main" id="{D9E3F472-D082-42F4-BE71-F491A8B3628A}"/>
              </a:ext>
            </a:extLst>
          </p:cNvPr>
          <p:cNvSpPr/>
          <p:nvPr/>
        </p:nvSpPr>
        <p:spPr>
          <a:xfrm>
            <a:off x="7132339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Zahnutá šipka nahoru 25">
            <a:extLst>
              <a:ext uri="{FF2B5EF4-FFF2-40B4-BE49-F238E27FC236}">
                <a16:creationId xmlns:a16="http://schemas.microsoft.com/office/drawing/2014/main" id="{C0348241-E67C-4326-84D5-673A5A35F6F8}"/>
              </a:ext>
            </a:extLst>
          </p:cNvPr>
          <p:cNvSpPr/>
          <p:nvPr/>
        </p:nvSpPr>
        <p:spPr>
          <a:xfrm>
            <a:off x="9165560" y="2261711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Zahnutá šipka nahoru 25">
            <a:extLst>
              <a:ext uri="{FF2B5EF4-FFF2-40B4-BE49-F238E27FC236}">
                <a16:creationId xmlns:a16="http://schemas.microsoft.com/office/drawing/2014/main" id="{B99CEC0A-3FE2-4060-8E33-5E7351A12C6E}"/>
              </a:ext>
            </a:extLst>
          </p:cNvPr>
          <p:cNvSpPr/>
          <p:nvPr/>
        </p:nvSpPr>
        <p:spPr>
          <a:xfrm>
            <a:off x="901603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Tabulka 4">
            <a:extLst>
              <a:ext uri="{FF2B5EF4-FFF2-40B4-BE49-F238E27FC236}">
                <a16:creationId xmlns:a16="http://schemas.microsoft.com/office/drawing/2014/main" id="{E5B6B0A6-C04F-4D38-9509-1CF27F129FB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059" y="1819596"/>
          <a:ext cx="11880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26191376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8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6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2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sp>
        <p:nvSpPr>
          <p:cNvPr id="42" name="Šipka doprava 58">
            <a:extLst>
              <a:ext uri="{FF2B5EF4-FFF2-40B4-BE49-F238E27FC236}">
                <a16:creationId xmlns:a16="http://schemas.microsoft.com/office/drawing/2014/main" id="{CA9A6FA1-6148-41CE-B389-AC59F890BA35}"/>
              </a:ext>
            </a:extLst>
          </p:cNvPr>
          <p:cNvSpPr/>
          <p:nvPr/>
        </p:nvSpPr>
        <p:spPr>
          <a:xfrm rot="20356586" flipV="1">
            <a:off x="10834254" y="3343438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114E67F8-C8B7-4E10-91EF-BE935E1B1B2B}"/>
              </a:ext>
            </a:extLst>
          </p:cNvPr>
          <p:cNvSpPr txBox="1"/>
          <p:nvPr/>
        </p:nvSpPr>
        <p:spPr>
          <a:xfrm>
            <a:off x="162839" y="1222374"/>
            <a:ext cx="196282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. 1.–27. 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4C5A64E-EE99-41C2-9011-BB2392E3B854}"/>
              </a:ext>
            </a:extLst>
          </p:cNvPr>
          <p:cNvSpPr txBox="1"/>
          <p:nvPr/>
        </p:nvSpPr>
        <p:spPr>
          <a:xfrm>
            <a:off x="2214439" y="122237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. 1.–3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83B833C-D8EF-492F-8534-5BC1782EE941}"/>
              </a:ext>
            </a:extLst>
          </p:cNvPr>
          <p:cNvSpPr txBox="1"/>
          <p:nvPr/>
        </p:nvSpPr>
        <p:spPr>
          <a:xfrm>
            <a:off x="4181563" y="1216115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2.–10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95274FDD-089A-4976-AAA4-55530EE6FCC6}"/>
              </a:ext>
            </a:extLst>
          </p:cNvPr>
          <p:cNvSpPr txBox="1"/>
          <p:nvPr/>
        </p:nvSpPr>
        <p:spPr>
          <a:xfrm>
            <a:off x="6145700" y="1216115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. 2.–17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9CEC90C8-DB83-44E0-AB86-16CFDB319B06}"/>
              </a:ext>
            </a:extLst>
          </p:cNvPr>
          <p:cNvSpPr txBox="1"/>
          <p:nvPr/>
        </p:nvSpPr>
        <p:spPr>
          <a:xfrm>
            <a:off x="8126057" y="1216115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 2.–24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BB92797D-262F-4959-9F04-E1B1DB9142AA}"/>
              </a:ext>
            </a:extLst>
          </p:cNvPr>
          <p:cNvSpPr txBox="1"/>
          <p:nvPr/>
        </p:nvSpPr>
        <p:spPr>
          <a:xfrm>
            <a:off x="10106414" y="1214912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. 2.–3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46" name="Tabulka 6">
            <a:extLst>
              <a:ext uri="{FF2B5EF4-FFF2-40B4-BE49-F238E27FC236}">
                <a16:creationId xmlns:a16="http://schemas.microsoft.com/office/drawing/2014/main" id="{070B740B-372D-470B-91CE-C88FE21AC09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19572" y="2154387"/>
          <a:ext cx="9481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42561082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09467333"/>
                    </a:ext>
                  </a:extLst>
                </a:gridCol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0,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,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,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,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52949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35590" y="442339"/>
            <a:ext cx="1143461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sto je pozitivní zprávou, že vývoj  populační zátěže přestal eskalovat a stabilizuje se, byť na vysokých hodnotách. V důsledku toho reprodukční číslo postupně klesá a aktuálně je rovno 1,02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ásledujících cca 7 – 10 dnech se začnou více projevovat i nově přijatá opatření a je tak vysoká pravděpodobnost, že epidemie začne relativně rychle brzdit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277044" y="3830832"/>
            <a:ext cx="1551709" cy="4972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335591" y="4822914"/>
            <a:ext cx="114346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to je velmi důležité striktně dodržovat přijatá opatření, včetně iniciovaného testování v podnicích, firmách a institucí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56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60" y="103163"/>
            <a:ext cx="11537512" cy="1951268"/>
          </a:xfrm>
        </p:spPr>
        <p:txBody>
          <a:bodyPr>
            <a:normAutofit/>
          </a:bodyPr>
          <a:lstStyle/>
          <a:p>
            <a:r>
              <a:rPr lang="cs-CZ" sz="3600" b="1" dirty="0"/>
              <a:t>Rizikový vývoj epidemie </a:t>
            </a:r>
            <a:r>
              <a:rPr lang="cs-CZ" sz="3600" b="1" dirty="0" smtClean="0"/>
              <a:t>významně  </a:t>
            </a:r>
            <a:r>
              <a:rPr lang="cs-CZ" sz="3600" b="1" dirty="0"/>
              <a:t>zvyšuje zátěž nemocnic, které se </a:t>
            </a:r>
            <a:r>
              <a:rPr lang="cs-CZ" sz="3600" b="1" dirty="0" smtClean="0"/>
              <a:t>v </a:t>
            </a:r>
            <a:r>
              <a:rPr lang="cs-CZ" sz="3600" b="1" dirty="0"/>
              <a:t>zatížených regionech dostávají na </a:t>
            </a:r>
            <a:r>
              <a:rPr lang="cs-CZ" sz="3600" b="1" dirty="0" smtClean="0"/>
              <a:t>limit  </a:t>
            </a:r>
            <a:r>
              <a:rPr lang="cs-CZ" sz="3600" b="1" dirty="0"/>
              <a:t>kapacit zejména v intenzivní péči. 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157742" y="3065322"/>
            <a:ext cx="1161934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mnoha regionech je pro kapacity limitující dostupnost personálu. Funkční lůžko na intenzivní péči vyžaduje vysoce erudovaný personál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nemocnic dále zvyšuje fakt, že 20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25% pacientů vyléčených z COVID vyžaduje pokračující nemocniční péči, včetně péče vysoce intenzivní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343961" y="2161361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343959" y="5881869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4119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9448799" y="2400085"/>
            <a:ext cx="2394066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5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3.2021 05:00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81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/>
          </p:nvPr>
        </p:nvGraphicFramePr>
        <p:xfrm>
          <a:off x="332818" y="989218"/>
          <a:ext cx="9950025" cy="5386648"/>
        </p:xfrm>
        <a:graphic>
          <a:graphicData uri="http://schemas.openxmlformats.org/drawingml/2006/table">
            <a:tbl>
              <a:tblPr/>
              <a:tblGrid>
                <a:gridCol w="1898273">
                  <a:extLst>
                    <a:ext uri="{9D8B030D-6E8A-4147-A177-3AD203B41FA5}">
                      <a16:colId xmlns:a16="http://schemas.microsoft.com/office/drawing/2014/main" val="1526875209"/>
                    </a:ext>
                  </a:extLst>
                </a:gridCol>
                <a:gridCol w="1205252">
                  <a:extLst>
                    <a:ext uri="{9D8B030D-6E8A-4147-A177-3AD203B41FA5}">
                      <a16:colId xmlns:a16="http://schemas.microsoft.com/office/drawing/2014/main" val="2894995606"/>
                    </a:ext>
                  </a:extLst>
                </a:gridCol>
                <a:gridCol w="1114857">
                  <a:extLst>
                    <a:ext uri="{9D8B030D-6E8A-4147-A177-3AD203B41FA5}">
                      <a16:colId xmlns:a16="http://schemas.microsoft.com/office/drawing/2014/main" val="1338621825"/>
                    </a:ext>
                  </a:extLst>
                </a:gridCol>
                <a:gridCol w="1071335">
                  <a:extLst>
                    <a:ext uri="{9D8B030D-6E8A-4147-A177-3AD203B41FA5}">
                      <a16:colId xmlns:a16="http://schemas.microsoft.com/office/drawing/2014/main" val="3005740941"/>
                    </a:ext>
                  </a:extLst>
                </a:gridCol>
                <a:gridCol w="1285601">
                  <a:extLst>
                    <a:ext uri="{9D8B030D-6E8A-4147-A177-3AD203B41FA5}">
                      <a16:colId xmlns:a16="http://schemas.microsoft.com/office/drawing/2014/main" val="1978506677"/>
                    </a:ext>
                  </a:extLst>
                </a:gridCol>
                <a:gridCol w="1285601">
                  <a:extLst>
                    <a:ext uri="{9D8B030D-6E8A-4147-A177-3AD203B41FA5}">
                      <a16:colId xmlns:a16="http://schemas.microsoft.com/office/drawing/2014/main" val="147064317"/>
                    </a:ext>
                  </a:extLst>
                </a:gridCol>
                <a:gridCol w="1044553">
                  <a:extLst>
                    <a:ext uri="{9D8B030D-6E8A-4147-A177-3AD203B41FA5}">
                      <a16:colId xmlns:a16="http://schemas.microsoft.com/office/drawing/2014/main" val="1312311367"/>
                    </a:ext>
                  </a:extLst>
                </a:gridCol>
                <a:gridCol w="1044553">
                  <a:extLst>
                    <a:ext uri="{9D8B030D-6E8A-4147-A177-3AD203B41FA5}">
                      <a16:colId xmlns:a16="http://schemas.microsoft.com/office/drawing/2014/main" val="34849568"/>
                    </a:ext>
                  </a:extLst>
                </a:gridCol>
              </a:tblGrid>
              <a:tr h="243345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5.3. 2021, 17:00 h</a:t>
                      </a: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4569145"/>
                  </a:ext>
                </a:extLst>
              </a:tr>
              <a:tr h="203368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938777"/>
                  </a:ext>
                </a:extLst>
              </a:tr>
              <a:tr h="24334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(ARO + JIP + počet plicních ventilátorů)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086534"/>
                  </a:ext>
                </a:extLst>
              </a:tr>
              <a:tr h="48669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z volných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icních ventilátorů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filizovaná kap. plán.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. kap. skutečná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1209358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7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590465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408924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468203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763576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960648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2520357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3724321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3248405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2565217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763382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395180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776140"/>
                  </a:ext>
                </a:extLst>
              </a:tr>
              <a:tr h="217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5022727"/>
                  </a:ext>
                </a:extLst>
              </a:tr>
              <a:tr h="2259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021" marR="7021" marT="70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714916"/>
                  </a:ext>
                </a:extLst>
              </a:tr>
              <a:tr h="2520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5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7021" marR="7021" marT="702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745012"/>
                  </a:ext>
                </a:extLst>
              </a:tr>
              <a:tr h="208582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UZIS</a:t>
                      </a: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2524565"/>
                  </a:ext>
                </a:extLst>
              </a:tr>
              <a:tr h="203368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7396998"/>
                  </a:ext>
                </a:extLst>
              </a:tr>
              <a:tr h="20858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7021" marR="7021" marT="702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081852"/>
                  </a:ext>
                </a:extLst>
              </a:tr>
              <a:tr h="286801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21" marR="7021" marT="7021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82165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708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5D803DA5-5D9C-447A-8357-F6117CCC9C7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8191" y="4249022"/>
            <a:ext cx="4318807" cy="2520000"/>
          </a:xfrm>
          <a:prstGeom prst="rect">
            <a:avLst/>
          </a:prstGeom>
        </p:spPr>
      </p:pic>
      <p:sp>
        <p:nvSpPr>
          <p:cNvPr id="6" name="Zaoblený obdélník 5"/>
          <p:cNvSpPr/>
          <p:nvPr/>
        </p:nvSpPr>
        <p:spPr>
          <a:xfrm>
            <a:off x="242284" y="133245"/>
            <a:ext cx="11720734" cy="476159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lůžek v % pro virtuální RIZIKOVÝ predikční model s R = 1.20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813B3F-3821-4DD9-8C67-E6AFF2A983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42284" y="880132"/>
            <a:ext cx="3886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14.2.2021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F6F6E00-F3B7-4825-AED5-12ECBC706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58439" y="88013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2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pic>
        <p:nvPicPr>
          <p:cNvPr id="16" name="Picture 15" descr="Map&#10;&#10;Description automatically generated">
            <a:extLst>
              <a:ext uri="{FF2B5EF4-FFF2-40B4-BE49-F238E27FC236}">
                <a16:creationId xmlns:a16="http://schemas.microsoft.com/office/drawing/2014/main" id="{59A3AA55-1BCB-4C67-9FCD-3BAC4645D22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11634"/>
          <a:stretch/>
        </p:blipFill>
        <p:spPr>
          <a:xfrm>
            <a:off x="12593" y="1474238"/>
            <a:ext cx="3533058" cy="2520000"/>
          </a:xfrm>
          <a:prstGeom prst="rect">
            <a:avLst/>
          </a:prstGeom>
        </p:spPr>
      </p:pic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D0A41E8A-BBBF-43F6-ADEB-65A751EEA8B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10053"/>
          <a:stretch/>
        </p:blipFill>
        <p:spPr>
          <a:xfrm>
            <a:off x="3994506" y="1474238"/>
            <a:ext cx="3601385" cy="252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8972B87-A46D-43B7-A956-9DE448F30EF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188597" y="88013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5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7C9E002-0D9F-4A10-9EDA-66DF616DEFA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94893" y="4044065"/>
            <a:ext cx="4285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volné kapacity JIP v % 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68F7B601-A9DD-4686-BAE0-0EF32C2C919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0" r="10014"/>
          <a:stretch/>
        </p:blipFill>
        <p:spPr>
          <a:xfrm>
            <a:off x="7908885" y="1421587"/>
            <a:ext cx="3657417" cy="2520000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B61D1BFC-AC4C-4020-871E-A874D23799D2}"/>
              </a:ext>
            </a:extLst>
          </p:cNvPr>
          <p:cNvSpPr/>
          <p:nvPr/>
        </p:nvSpPr>
        <p:spPr>
          <a:xfrm>
            <a:off x="999962" y="4886000"/>
            <a:ext cx="216000" cy="216000"/>
          </a:xfrm>
          <a:prstGeom prst="rect">
            <a:avLst/>
          </a:prstGeom>
          <a:solidFill>
            <a:srgbClr val="F12E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44">
            <a:extLst>
              <a:ext uri="{FF2B5EF4-FFF2-40B4-BE49-F238E27FC236}">
                <a16:creationId xmlns:a16="http://schemas.microsoft.com/office/drawing/2014/main" id="{1121FC4E-443B-4EF1-9D06-F5B59E16132D}"/>
              </a:ext>
            </a:extLst>
          </p:cNvPr>
          <p:cNvSpPr/>
          <p:nvPr/>
        </p:nvSpPr>
        <p:spPr>
          <a:xfrm>
            <a:off x="999962" y="5199145"/>
            <a:ext cx="216000" cy="216000"/>
          </a:xfrm>
          <a:prstGeom prst="rect">
            <a:avLst/>
          </a:prstGeom>
          <a:solidFill>
            <a:srgbClr val="FF7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5">
            <a:extLst>
              <a:ext uri="{FF2B5EF4-FFF2-40B4-BE49-F238E27FC236}">
                <a16:creationId xmlns:a16="http://schemas.microsoft.com/office/drawing/2014/main" id="{B83A8BBE-CC10-4AB7-94CE-1E134F24E295}"/>
              </a:ext>
            </a:extLst>
          </p:cNvPr>
          <p:cNvSpPr/>
          <p:nvPr/>
        </p:nvSpPr>
        <p:spPr>
          <a:xfrm>
            <a:off x="999962" y="5512290"/>
            <a:ext cx="216000" cy="216000"/>
          </a:xfrm>
          <a:prstGeom prst="rect">
            <a:avLst/>
          </a:prstGeom>
          <a:solidFill>
            <a:srgbClr val="FB9A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46">
            <a:extLst>
              <a:ext uri="{FF2B5EF4-FFF2-40B4-BE49-F238E27FC236}">
                <a16:creationId xmlns:a16="http://schemas.microsoft.com/office/drawing/2014/main" id="{E8931E4B-1B61-4447-BE29-01234161876D}"/>
              </a:ext>
            </a:extLst>
          </p:cNvPr>
          <p:cNvSpPr/>
          <p:nvPr/>
        </p:nvSpPr>
        <p:spPr>
          <a:xfrm>
            <a:off x="999962" y="5825435"/>
            <a:ext cx="216000" cy="216000"/>
          </a:xfrm>
          <a:prstGeom prst="rect">
            <a:avLst/>
          </a:prstGeom>
          <a:solidFill>
            <a:srgbClr val="E7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10">
            <a:extLst>
              <a:ext uri="{FF2B5EF4-FFF2-40B4-BE49-F238E27FC236}">
                <a16:creationId xmlns:a16="http://schemas.microsoft.com/office/drawing/2014/main" id="{AE8CFCCF-2072-4F53-9779-AB66D31F9BF2}"/>
              </a:ext>
            </a:extLst>
          </p:cNvPr>
          <p:cNvSpPr txBox="1"/>
          <p:nvPr/>
        </p:nvSpPr>
        <p:spPr>
          <a:xfrm>
            <a:off x="1284048" y="4809334"/>
            <a:ext cx="635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5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47">
            <a:extLst>
              <a:ext uri="{FF2B5EF4-FFF2-40B4-BE49-F238E27FC236}">
                <a16:creationId xmlns:a16="http://schemas.microsoft.com/office/drawing/2014/main" id="{B6D8743B-FCD1-4A85-822A-E0ECDDF5CC92}"/>
              </a:ext>
            </a:extLst>
          </p:cNvPr>
          <p:cNvSpPr txBox="1"/>
          <p:nvPr/>
        </p:nvSpPr>
        <p:spPr>
          <a:xfrm>
            <a:off x="1284048" y="5122479"/>
            <a:ext cx="1042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% - 1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48">
            <a:extLst>
              <a:ext uri="{FF2B5EF4-FFF2-40B4-BE49-F238E27FC236}">
                <a16:creationId xmlns:a16="http://schemas.microsoft.com/office/drawing/2014/main" id="{F12DAE32-1EC1-4940-A668-03CCF6C3268C}"/>
              </a:ext>
            </a:extLst>
          </p:cNvPr>
          <p:cNvSpPr txBox="1"/>
          <p:nvPr/>
        </p:nvSpPr>
        <p:spPr>
          <a:xfrm>
            <a:off x="1284048" y="5432405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% - 2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49">
            <a:extLst>
              <a:ext uri="{FF2B5EF4-FFF2-40B4-BE49-F238E27FC236}">
                <a16:creationId xmlns:a16="http://schemas.microsoft.com/office/drawing/2014/main" id="{635A2C42-212C-4478-AF7B-6A75B9FE8632}"/>
              </a:ext>
            </a:extLst>
          </p:cNvPr>
          <p:cNvSpPr txBox="1"/>
          <p:nvPr/>
        </p:nvSpPr>
        <p:spPr>
          <a:xfrm>
            <a:off x="1284048" y="5750989"/>
            <a:ext cx="752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2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/>
          <p:cNvSpPr txBox="1"/>
          <p:nvPr/>
        </p:nvSpPr>
        <p:spPr>
          <a:xfrm>
            <a:off x="2731245" y="4614599"/>
            <a:ext cx="450327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Volné kapacity intenzivní nemocniční péče i přes robustnost vybavení českých nemocnic postupně klesají. Pokud by došlo k významné eskalaci šíření nákazy, dostala by se většina území ČR do situace kritického nedostatku volných kapacit intenzivní péče. </a:t>
            </a:r>
            <a:endParaRPr lang="cs-CZ" dirty="0"/>
          </a:p>
        </p:txBody>
      </p:sp>
      <p:sp>
        <p:nvSpPr>
          <p:cNvPr id="30" name="Šipka doprava 29"/>
          <p:cNvSpPr/>
          <p:nvPr/>
        </p:nvSpPr>
        <p:spPr>
          <a:xfrm>
            <a:off x="7234523" y="4996220"/>
            <a:ext cx="405492" cy="93943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39415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31336"/>
            <a:ext cx="12192000" cy="158381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ůběh vakcinace k 4. 3. 202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hrn </a:t>
            </a: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ostupných dat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8580369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33;p7">
            <a:extLst>
              <a:ext uri="{FF2B5EF4-FFF2-40B4-BE49-F238E27FC236}">
                <a16:creationId xmlns:a16="http://schemas.microsoft.com/office/drawing/2014/main" id="{2F61C92D-8B71-49AF-9931-972012CEEA48}"/>
              </a:ext>
            </a:extLst>
          </p:cNvPr>
          <p:cNvCxnSpPr/>
          <p:nvPr/>
        </p:nvCxnSpPr>
        <p:spPr>
          <a:xfrm rot="10800000" flipH="1">
            <a:off x="0" y="896493"/>
            <a:ext cx="10218057" cy="1"/>
          </a:xfrm>
          <a:prstGeom prst="straightConnector1">
            <a:avLst/>
          </a:prstGeom>
          <a:noFill/>
          <a:ln w="38100" cap="rnd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" name="Google Shape;35;p7">
            <a:extLst>
              <a:ext uri="{FF2B5EF4-FFF2-40B4-BE49-F238E27FC236}">
                <a16:creationId xmlns:a16="http://schemas.microsoft.com/office/drawing/2014/main" id="{D439CBEA-A3A8-4CAF-AD48-FCEE2DE7DD8D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78781" y="226273"/>
            <a:ext cx="1340438" cy="1340438"/>
          </a:xfrm>
          <a:prstGeom prst="rect">
            <a:avLst/>
          </a:prstGeom>
          <a:noFill/>
          <a:ln>
            <a:noFill/>
          </a:ln>
          <a:effectLst>
            <a:outerShdw blurRad="177800" dist="635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5" name="Google Shape;36;p7">
            <a:extLst>
              <a:ext uri="{FF2B5EF4-FFF2-40B4-BE49-F238E27FC236}">
                <a16:creationId xmlns:a16="http://schemas.microsoft.com/office/drawing/2014/main" id="{8136C94B-33C5-4C71-A51F-0A483A0D710F}"/>
              </a:ext>
            </a:extLst>
          </p:cNvPr>
          <p:cNvSpPr/>
          <p:nvPr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"/>
              <a:cs typeface="Arial"/>
              <a:sym typeface="Arial"/>
            </a:endParaRPr>
          </a:p>
        </p:txBody>
      </p:sp>
      <p:grpSp>
        <p:nvGrpSpPr>
          <p:cNvPr id="6" name="Google Shape;37;p7">
            <a:extLst>
              <a:ext uri="{FF2B5EF4-FFF2-40B4-BE49-F238E27FC236}">
                <a16:creationId xmlns:a16="http://schemas.microsoft.com/office/drawing/2014/main" id="{CE166CEC-AD69-4118-9BDE-EF8F06B01BE0}"/>
              </a:ext>
            </a:extLst>
          </p:cNvPr>
          <p:cNvGrpSpPr/>
          <p:nvPr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7" name="Google Shape;38;p7">
              <a:extLst>
                <a:ext uri="{FF2B5EF4-FFF2-40B4-BE49-F238E27FC236}">
                  <a16:creationId xmlns:a16="http://schemas.microsoft.com/office/drawing/2014/main" id="{2495457A-55FE-42E7-8E68-B6920D992833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Google Shape;39;p7">
              <a:extLst>
                <a:ext uri="{FF2B5EF4-FFF2-40B4-BE49-F238E27FC236}">
                  <a16:creationId xmlns:a16="http://schemas.microsoft.com/office/drawing/2014/main" id="{CF361374-A84B-49FA-BCC2-8E7B977460BC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Nadpis 3">
            <a:extLst>
              <a:ext uri="{FF2B5EF4-FFF2-40B4-BE49-F238E27FC236}">
                <a16:creationId xmlns:a16="http://schemas.microsoft.com/office/drawing/2014/main" id="{BBE0403E-E65E-4366-BA49-2E64BFEE39ED}"/>
              </a:ext>
            </a:extLst>
          </p:cNvPr>
          <p:cNvSpPr txBox="1">
            <a:spLocks/>
          </p:cNvSpPr>
          <p:nvPr/>
        </p:nvSpPr>
        <p:spPr>
          <a:xfrm>
            <a:off x="332819" y="1"/>
            <a:ext cx="9885238" cy="896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  <a:defRPr sz="2400" b="1" i="0" u="none" strike="noStrike" cap="none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2400"/>
              <a:buFont typeface="Arial"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port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 registrac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zervace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6DD483CB-4863-4CC6-9F40-BC1BAB3B798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93682" y="2039053"/>
          <a:ext cx="10822495" cy="2169536"/>
        </p:xfrm>
        <a:graphic>
          <a:graphicData uri="http://schemas.openxmlformats.org/drawingml/2006/table">
            <a:tbl>
              <a:tblPr firstRow="1" firstCol="1" bandRow="1"/>
              <a:tblGrid>
                <a:gridCol w="1350236">
                  <a:extLst>
                    <a:ext uri="{9D8B030D-6E8A-4147-A177-3AD203B41FA5}">
                      <a16:colId xmlns:a16="http://schemas.microsoft.com/office/drawing/2014/main" val="2373790424"/>
                    </a:ext>
                  </a:extLst>
                </a:gridCol>
                <a:gridCol w="1444547">
                  <a:extLst>
                    <a:ext uri="{9D8B030D-6E8A-4147-A177-3AD203B41FA5}">
                      <a16:colId xmlns:a16="http://schemas.microsoft.com/office/drawing/2014/main" val="1349139316"/>
                    </a:ext>
                  </a:extLst>
                </a:gridCol>
                <a:gridCol w="1311968">
                  <a:extLst>
                    <a:ext uri="{9D8B030D-6E8A-4147-A177-3AD203B41FA5}">
                      <a16:colId xmlns:a16="http://schemas.microsoft.com/office/drawing/2014/main" val="903375139"/>
                    </a:ext>
                  </a:extLst>
                </a:gridCol>
                <a:gridCol w="1311968">
                  <a:extLst>
                    <a:ext uri="{9D8B030D-6E8A-4147-A177-3AD203B41FA5}">
                      <a16:colId xmlns:a16="http://schemas.microsoft.com/office/drawing/2014/main" val="373931928"/>
                    </a:ext>
                  </a:extLst>
                </a:gridCol>
                <a:gridCol w="1311968">
                  <a:extLst>
                    <a:ext uri="{9D8B030D-6E8A-4147-A177-3AD203B41FA5}">
                      <a16:colId xmlns:a16="http://schemas.microsoft.com/office/drawing/2014/main" val="1530030546"/>
                    </a:ext>
                  </a:extLst>
                </a:gridCol>
                <a:gridCol w="1311968">
                  <a:extLst>
                    <a:ext uri="{9D8B030D-6E8A-4147-A177-3AD203B41FA5}">
                      <a16:colId xmlns:a16="http://schemas.microsoft.com/office/drawing/2014/main" val="1068499448"/>
                    </a:ext>
                  </a:extLst>
                </a:gridCol>
                <a:gridCol w="1311968">
                  <a:extLst>
                    <a:ext uri="{9D8B030D-6E8A-4147-A177-3AD203B41FA5}">
                      <a16:colId xmlns:a16="http://schemas.microsoft.com/office/drawing/2014/main" val="2800868385"/>
                    </a:ext>
                  </a:extLst>
                </a:gridCol>
                <a:gridCol w="1467872">
                  <a:extLst>
                    <a:ext uri="{9D8B030D-6E8A-4147-A177-3AD203B41FA5}">
                      <a16:colId xmlns:a16="http://schemas.microsoft.com/office/drawing/2014/main" val="3887496252"/>
                    </a:ext>
                  </a:extLst>
                </a:gridCol>
              </a:tblGrid>
              <a:tr h="16202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2000" b="1" dirty="0">
                          <a:solidFill>
                            <a:srgbClr val="1F497D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 </a:t>
                      </a:r>
                      <a:r>
                        <a:rPr lang="cs-CZ" sz="20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atum</a:t>
                      </a:r>
                      <a:endParaRPr lang="cs-CZ" sz="2000" b="1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gistrace</a:t>
                      </a:r>
                      <a:b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celkem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čet registrací</a:t>
                      </a:r>
                      <a:b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80+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čet registrací</a:t>
                      </a:r>
                      <a:b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70-79 let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čet registrací</a:t>
                      </a:r>
                      <a:b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ZP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čet registrací</a:t>
                      </a:r>
                      <a:b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školství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čet rezervací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>
                          <a:effectLst/>
                          <a:latin typeface="+mn-lt"/>
                          <a:ea typeface="Calibri" panose="020F0502020204030204" pitchFamily="34" charset="0"/>
                        </a:rPr>
                        <a:t>Čekající na rezervaci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790541"/>
                  </a:ext>
                </a:extLst>
              </a:tr>
              <a:tr h="5493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04.03.202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694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34 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73 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32 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155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280 758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2000" b="1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414 19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3637411"/>
                  </a:ext>
                </a:extLst>
              </a:tr>
            </a:tbl>
          </a:graphicData>
        </a:graphic>
      </p:graphicFrame>
      <p:grpSp>
        <p:nvGrpSpPr>
          <p:cNvPr id="13" name="Google Shape;111;p1">
            <a:extLst>
              <a:ext uri="{FF2B5EF4-FFF2-40B4-BE49-F238E27FC236}">
                <a16:creationId xmlns:a16="http://schemas.microsoft.com/office/drawing/2014/main" id="{FDD943B3-348B-45EF-B1D4-7053E137986F}"/>
              </a:ext>
            </a:extLst>
          </p:cNvPr>
          <p:cNvGrpSpPr/>
          <p:nvPr/>
        </p:nvGrpSpPr>
        <p:grpSpPr>
          <a:xfrm>
            <a:off x="378632" y="6446269"/>
            <a:ext cx="372654" cy="372654"/>
            <a:chOff x="13385800" y="1917700"/>
            <a:chExt cx="1606550" cy="1606550"/>
          </a:xfrm>
        </p:grpSpPr>
        <p:sp>
          <p:nvSpPr>
            <p:cNvPr id="14" name="Google Shape;112;p1">
              <a:extLst>
                <a:ext uri="{FF2B5EF4-FFF2-40B4-BE49-F238E27FC236}">
                  <a16:creationId xmlns:a16="http://schemas.microsoft.com/office/drawing/2014/main" id="{F4E3913A-4D0F-445A-8123-7512448DD63A}"/>
                </a:ext>
              </a:extLst>
            </p:cNvPr>
            <p:cNvSpPr/>
            <p:nvPr/>
          </p:nvSpPr>
          <p:spPr>
            <a:xfrm>
              <a:off x="14031913" y="2670175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7" extrusionOk="0">
                  <a:moveTo>
                    <a:pt x="6" y="1"/>
                  </a:moveTo>
                  <a:cubicBezTo>
                    <a:pt x="5" y="1"/>
                    <a:pt x="5" y="0"/>
                    <a:pt x="4" y="0"/>
                  </a:cubicBezTo>
                  <a:cubicBezTo>
                    <a:pt x="3" y="0"/>
                    <a:pt x="1" y="3"/>
                    <a:pt x="1" y="4"/>
                  </a:cubicBezTo>
                  <a:cubicBezTo>
                    <a:pt x="0" y="5"/>
                    <a:pt x="1" y="6"/>
                    <a:pt x="2" y="7"/>
                  </a:cubicBezTo>
                  <a:cubicBezTo>
                    <a:pt x="3" y="7"/>
                    <a:pt x="7" y="6"/>
                    <a:pt x="7" y="5"/>
                  </a:cubicBezTo>
                  <a:cubicBezTo>
                    <a:pt x="8" y="4"/>
                    <a:pt x="8" y="3"/>
                    <a:pt x="8" y="3"/>
                  </a:cubicBezTo>
                  <a:cubicBezTo>
                    <a:pt x="7" y="2"/>
                    <a:pt x="6" y="2"/>
                    <a:pt x="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113;p1">
              <a:extLst>
                <a:ext uri="{FF2B5EF4-FFF2-40B4-BE49-F238E27FC236}">
                  <a16:creationId xmlns:a16="http://schemas.microsoft.com/office/drawing/2014/main" id="{4D32A219-1310-4FBA-84C3-D43EC9CB08DD}"/>
                </a:ext>
              </a:extLst>
            </p:cNvPr>
            <p:cNvSpPr/>
            <p:nvPr/>
          </p:nvSpPr>
          <p:spPr>
            <a:xfrm>
              <a:off x="14038263" y="2665413"/>
              <a:ext cx="4763" cy="6350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5" y="4"/>
                  </a:moveTo>
                  <a:cubicBezTo>
                    <a:pt x="4" y="3"/>
                    <a:pt x="4" y="0"/>
                    <a:pt x="3" y="0"/>
                  </a:cubicBezTo>
                  <a:cubicBezTo>
                    <a:pt x="1" y="0"/>
                    <a:pt x="0" y="4"/>
                    <a:pt x="1" y="5"/>
                  </a:cubicBezTo>
                  <a:cubicBezTo>
                    <a:pt x="1" y="7"/>
                    <a:pt x="3" y="11"/>
                    <a:pt x="5" y="10"/>
                  </a:cubicBezTo>
                  <a:cubicBezTo>
                    <a:pt x="6" y="9"/>
                    <a:pt x="7" y="8"/>
                    <a:pt x="8" y="7"/>
                  </a:cubicBezTo>
                  <a:cubicBezTo>
                    <a:pt x="8" y="5"/>
                    <a:pt x="5" y="5"/>
                    <a:pt x="5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114;p1">
              <a:extLst>
                <a:ext uri="{FF2B5EF4-FFF2-40B4-BE49-F238E27FC236}">
                  <a16:creationId xmlns:a16="http://schemas.microsoft.com/office/drawing/2014/main" id="{03936B85-C451-4DBA-B2CD-6B422E72F766}"/>
                </a:ext>
              </a:extLst>
            </p:cNvPr>
            <p:cNvSpPr/>
            <p:nvPr/>
          </p:nvSpPr>
          <p:spPr>
            <a:xfrm>
              <a:off x="14044613" y="2662238"/>
              <a:ext cx="6350" cy="3175"/>
            </a:xfrm>
            <a:custGeom>
              <a:avLst/>
              <a:gdLst/>
              <a:ahLst/>
              <a:cxnLst/>
              <a:rect l="l" t="t" r="r" b="b"/>
              <a:pathLst>
                <a:path w="10" h="8" extrusionOk="0">
                  <a:moveTo>
                    <a:pt x="7" y="4"/>
                  </a:moveTo>
                  <a:cubicBezTo>
                    <a:pt x="5" y="3"/>
                    <a:pt x="5" y="3"/>
                    <a:pt x="4" y="1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2" y="7"/>
                    <a:pt x="4" y="8"/>
                    <a:pt x="6" y="8"/>
                  </a:cubicBezTo>
                  <a:cubicBezTo>
                    <a:pt x="7" y="8"/>
                    <a:pt x="8" y="8"/>
                    <a:pt x="9" y="7"/>
                  </a:cubicBezTo>
                  <a:cubicBezTo>
                    <a:pt x="10" y="5"/>
                    <a:pt x="8" y="4"/>
                    <a:pt x="7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115;p1">
              <a:extLst>
                <a:ext uri="{FF2B5EF4-FFF2-40B4-BE49-F238E27FC236}">
                  <a16:creationId xmlns:a16="http://schemas.microsoft.com/office/drawing/2014/main" id="{9066952E-AB2B-47B2-932F-6D4A2B5454ED}"/>
                </a:ext>
              </a:extLst>
            </p:cNvPr>
            <p:cNvSpPr/>
            <p:nvPr/>
          </p:nvSpPr>
          <p:spPr>
            <a:xfrm>
              <a:off x="14058900" y="2636838"/>
              <a:ext cx="34925" cy="23813"/>
            </a:xfrm>
            <a:custGeom>
              <a:avLst/>
              <a:gdLst/>
              <a:ahLst/>
              <a:cxnLst/>
              <a:rect l="l" t="t" r="r" b="b"/>
              <a:pathLst>
                <a:path w="64" h="44" extrusionOk="0">
                  <a:moveTo>
                    <a:pt x="63" y="3"/>
                  </a:moveTo>
                  <a:cubicBezTo>
                    <a:pt x="64" y="0"/>
                    <a:pt x="61" y="0"/>
                    <a:pt x="59" y="0"/>
                  </a:cubicBezTo>
                  <a:cubicBezTo>
                    <a:pt x="56" y="0"/>
                    <a:pt x="53" y="6"/>
                    <a:pt x="53" y="10"/>
                  </a:cubicBezTo>
                  <a:cubicBezTo>
                    <a:pt x="53" y="15"/>
                    <a:pt x="58" y="25"/>
                    <a:pt x="52" y="31"/>
                  </a:cubicBezTo>
                  <a:cubicBezTo>
                    <a:pt x="47" y="36"/>
                    <a:pt x="40" y="34"/>
                    <a:pt x="34" y="31"/>
                  </a:cubicBezTo>
                  <a:cubicBezTo>
                    <a:pt x="31" y="29"/>
                    <a:pt x="20" y="31"/>
                    <a:pt x="17" y="32"/>
                  </a:cubicBezTo>
                  <a:cubicBezTo>
                    <a:pt x="12" y="35"/>
                    <a:pt x="9" y="36"/>
                    <a:pt x="3" y="38"/>
                  </a:cubicBezTo>
                  <a:cubicBezTo>
                    <a:pt x="0" y="40"/>
                    <a:pt x="6" y="43"/>
                    <a:pt x="9" y="42"/>
                  </a:cubicBezTo>
                  <a:cubicBezTo>
                    <a:pt x="13" y="41"/>
                    <a:pt x="27" y="35"/>
                    <a:pt x="31" y="38"/>
                  </a:cubicBezTo>
                  <a:cubicBezTo>
                    <a:pt x="42" y="44"/>
                    <a:pt x="59" y="41"/>
                    <a:pt x="63" y="29"/>
                  </a:cubicBezTo>
                  <a:cubicBezTo>
                    <a:pt x="64" y="25"/>
                    <a:pt x="63" y="15"/>
                    <a:pt x="62" y="11"/>
                  </a:cubicBezTo>
                  <a:cubicBezTo>
                    <a:pt x="61" y="7"/>
                    <a:pt x="63" y="5"/>
                    <a:pt x="63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16;p1">
              <a:extLst>
                <a:ext uri="{FF2B5EF4-FFF2-40B4-BE49-F238E27FC236}">
                  <a16:creationId xmlns:a16="http://schemas.microsoft.com/office/drawing/2014/main" id="{F35D448F-1482-46D0-B61F-6E83957DF61C}"/>
                </a:ext>
              </a:extLst>
            </p:cNvPr>
            <p:cNvSpPr/>
            <p:nvPr/>
          </p:nvSpPr>
          <p:spPr>
            <a:xfrm>
              <a:off x="14049375" y="2659063"/>
              <a:ext cx="6350" cy="3175"/>
            </a:xfrm>
            <a:custGeom>
              <a:avLst/>
              <a:gdLst/>
              <a:ahLst/>
              <a:cxnLst/>
              <a:rect l="l" t="t" r="r" b="b"/>
              <a:pathLst>
                <a:path w="12" h="7" extrusionOk="0">
                  <a:moveTo>
                    <a:pt x="7" y="2"/>
                  </a:moveTo>
                  <a:cubicBezTo>
                    <a:pt x="6" y="2"/>
                    <a:pt x="4" y="0"/>
                    <a:pt x="3" y="0"/>
                  </a:cubicBezTo>
                  <a:cubicBezTo>
                    <a:pt x="2" y="0"/>
                    <a:pt x="0" y="3"/>
                    <a:pt x="1" y="4"/>
                  </a:cubicBezTo>
                  <a:cubicBezTo>
                    <a:pt x="1" y="5"/>
                    <a:pt x="2" y="6"/>
                    <a:pt x="4" y="6"/>
                  </a:cubicBezTo>
                  <a:cubicBezTo>
                    <a:pt x="5" y="6"/>
                    <a:pt x="9" y="7"/>
                    <a:pt x="10" y="6"/>
                  </a:cubicBezTo>
                  <a:cubicBezTo>
                    <a:pt x="11" y="6"/>
                    <a:pt x="11" y="6"/>
                    <a:pt x="12" y="5"/>
                  </a:cubicBezTo>
                  <a:cubicBezTo>
                    <a:pt x="12" y="4"/>
                    <a:pt x="12" y="3"/>
                    <a:pt x="11" y="2"/>
                  </a:cubicBezTo>
                  <a:cubicBezTo>
                    <a:pt x="10" y="2"/>
                    <a:pt x="8" y="2"/>
                    <a:pt x="7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17;p1">
              <a:extLst>
                <a:ext uri="{FF2B5EF4-FFF2-40B4-BE49-F238E27FC236}">
                  <a16:creationId xmlns:a16="http://schemas.microsoft.com/office/drawing/2014/main" id="{DFB09535-7FAF-4798-8E86-EAF84756B16C}"/>
                </a:ext>
              </a:extLst>
            </p:cNvPr>
            <p:cNvSpPr/>
            <p:nvPr/>
          </p:nvSpPr>
          <p:spPr>
            <a:xfrm>
              <a:off x="13542963" y="3302000"/>
              <a:ext cx="77788" cy="74613"/>
            </a:xfrm>
            <a:custGeom>
              <a:avLst/>
              <a:gdLst/>
              <a:ahLst/>
              <a:cxnLst/>
              <a:rect l="l" t="t" r="r" b="b"/>
              <a:pathLst>
                <a:path w="139" h="133" extrusionOk="0">
                  <a:moveTo>
                    <a:pt x="66" y="0"/>
                  </a:moveTo>
                  <a:cubicBezTo>
                    <a:pt x="49" y="0"/>
                    <a:pt x="32" y="7"/>
                    <a:pt x="19" y="20"/>
                  </a:cubicBezTo>
                  <a:cubicBezTo>
                    <a:pt x="7" y="32"/>
                    <a:pt x="0" y="49"/>
                    <a:pt x="0" y="67"/>
                  </a:cubicBezTo>
                  <a:cubicBezTo>
                    <a:pt x="0" y="84"/>
                    <a:pt x="7" y="101"/>
                    <a:pt x="19" y="114"/>
                  </a:cubicBezTo>
                  <a:cubicBezTo>
                    <a:pt x="32" y="126"/>
                    <a:pt x="49" y="133"/>
                    <a:pt x="66" y="133"/>
                  </a:cubicBezTo>
                  <a:cubicBezTo>
                    <a:pt x="84" y="133"/>
                    <a:pt x="101" y="126"/>
                    <a:pt x="113" y="114"/>
                  </a:cubicBezTo>
                  <a:cubicBezTo>
                    <a:pt x="139" y="88"/>
                    <a:pt x="139" y="46"/>
                    <a:pt x="113" y="20"/>
                  </a:cubicBezTo>
                  <a:cubicBezTo>
                    <a:pt x="101" y="7"/>
                    <a:pt x="84" y="0"/>
                    <a:pt x="66" y="0"/>
                  </a:cubicBezTo>
                  <a:close/>
                  <a:moveTo>
                    <a:pt x="95" y="95"/>
                  </a:moveTo>
                  <a:cubicBezTo>
                    <a:pt x="87" y="103"/>
                    <a:pt x="77" y="107"/>
                    <a:pt x="66" y="107"/>
                  </a:cubicBezTo>
                  <a:cubicBezTo>
                    <a:pt x="56" y="107"/>
                    <a:pt x="46" y="103"/>
                    <a:pt x="38" y="95"/>
                  </a:cubicBezTo>
                  <a:cubicBezTo>
                    <a:pt x="30" y="88"/>
                    <a:pt x="26" y="77"/>
                    <a:pt x="26" y="67"/>
                  </a:cubicBezTo>
                  <a:cubicBezTo>
                    <a:pt x="26" y="56"/>
                    <a:pt x="30" y="46"/>
                    <a:pt x="38" y="38"/>
                  </a:cubicBezTo>
                  <a:cubicBezTo>
                    <a:pt x="46" y="31"/>
                    <a:pt x="56" y="27"/>
                    <a:pt x="66" y="27"/>
                  </a:cubicBezTo>
                  <a:cubicBezTo>
                    <a:pt x="77" y="27"/>
                    <a:pt x="87" y="31"/>
                    <a:pt x="95" y="38"/>
                  </a:cubicBezTo>
                  <a:cubicBezTo>
                    <a:pt x="110" y="54"/>
                    <a:pt x="110" y="79"/>
                    <a:pt x="95" y="9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118;p1">
              <a:extLst>
                <a:ext uri="{FF2B5EF4-FFF2-40B4-BE49-F238E27FC236}">
                  <a16:creationId xmlns:a16="http://schemas.microsoft.com/office/drawing/2014/main" id="{E4C0D3E0-EAAB-4918-A8C0-154661BA7D8F}"/>
                </a:ext>
              </a:extLst>
            </p:cNvPr>
            <p:cNvSpPr/>
            <p:nvPr/>
          </p:nvSpPr>
          <p:spPr>
            <a:xfrm>
              <a:off x="13796963" y="3213100"/>
              <a:ext cx="784225" cy="311150"/>
            </a:xfrm>
            <a:custGeom>
              <a:avLst/>
              <a:gdLst/>
              <a:ahLst/>
              <a:cxnLst/>
              <a:rect l="l" t="t" r="r" b="b"/>
              <a:pathLst>
                <a:path w="1400" h="555" extrusionOk="0">
                  <a:moveTo>
                    <a:pt x="1364" y="347"/>
                  </a:moveTo>
                  <a:cubicBezTo>
                    <a:pt x="1253" y="393"/>
                    <a:pt x="1253" y="393"/>
                    <a:pt x="1253" y="393"/>
                  </a:cubicBezTo>
                  <a:cubicBezTo>
                    <a:pt x="1160" y="170"/>
                    <a:pt x="1160" y="170"/>
                    <a:pt x="1160" y="170"/>
                  </a:cubicBezTo>
                  <a:cubicBezTo>
                    <a:pt x="1234" y="137"/>
                    <a:pt x="1305" y="97"/>
                    <a:pt x="1372" y="48"/>
                  </a:cubicBezTo>
                  <a:cubicBezTo>
                    <a:pt x="1383" y="40"/>
                    <a:pt x="1385" y="26"/>
                    <a:pt x="1377" y="15"/>
                  </a:cubicBezTo>
                  <a:cubicBezTo>
                    <a:pt x="1370" y="4"/>
                    <a:pt x="1355" y="2"/>
                    <a:pt x="1344" y="10"/>
                  </a:cubicBezTo>
                  <a:cubicBezTo>
                    <a:pt x="1275" y="60"/>
                    <a:pt x="1201" y="102"/>
                    <a:pt x="1124" y="134"/>
                  </a:cubicBezTo>
                  <a:cubicBezTo>
                    <a:pt x="1122" y="134"/>
                    <a:pt x="1121" y="135"/>
                    <a:pt x="1120" y="135"/>
                  </a:cubicBezTo>
                  <a:cubicBezTo>
                    <a:pt x="1119" y="136"/>
                    <a:pt x="1118" y="136"/>
                    <a:pt x="1117" y="137"/>
                  </a:cubicBezTo>
                  <a:cubicBezTo>
                    <a:pt x="986" y="191"/>
                    <a:pt x="845" y="219"/>
                    <a:pt x="700" y="219"/>
                  </a:cubicBezTo>
                  <a:cubicBezTo>
                    <a:pt x="555" y="219"/>
                    <a:pt x="414" y="191"/>
                    <a:pt x="283" y="137"/>
                  </a:cubicBezTo>
                  <a:cubicBezTo>
                    <a:pt x="282" y="136"/>
                    <a:pt x="281" y="136"/>
                    <a:pt x="280" y="135"/>
                  </a:cubicBezTo>
                  <a:cubicBezTo>
                    <a:pt x="278" y="135"/>
                    <a:pt x="277" y="134"/>
                    <a:pt x="276" y="134"/>
                  </a:cubicBezTo>
                  <a:cubicBezTo>
                    <a:pt x="197" y="101"/>
                    <a:pt x="122" y="59"/>
                    <a:pt x="52" y="7"/>
                  </a:cubicBezTo>
                  <a:cubicBezTo>
                    <a:pt x="42" y="0"/>
                    <a:pt x="27" y="2"/>
                    <a:pt x="19" y="12"/>
                  </a:cubicBezTo>
                  <a:cubicBezTo>
                    <a:pt x="11" y="23"/>
                    <a:pt x="14" y="38"/>
                    <a:pt x="24" y="45"/>
                  </a:cubicBezTo>
                  <a:cubicBezTo>
                    <a:pt x="92" y="95"/>
                    <a:pt x="164" y="137"/>
                    <a:pt x="240" y="170"/>
                  </a:cubicBezTo>
                  <a:cubicBezTo>
                    <a:pt x="147" y="393"/>
                    <a:pt x="147" y="393"/>
                    <a:pt x="147" y="393"/>
                  </a:cubicBezTo>
                  <a:cubicBezTo>
                    <a:pt x="36" y="347"/>
                    <a:pt x="36" y="347"/>
                    <a:pt x="36" y="347"/>
                  </a:cubicBezTo>
                  <a:cubicBezTo>
                    <a:pt x="24" y="342"/>
                    <a:pt x="10" y="347"/>
                    <a:pt x="5" y="359"/>
                  </a:cubicBezTo>
                  <a:cubicBezTo>
                    <a:pt x="0" y="371"/>
                    <a:pt x="6" y="385"/>
                    <a:pt x="18" y="390"/>
                  </a:cubicBezTo>
                  <a:cubicBezTo>
                    <a:pt x="285" y="501"/>
                    <a:pt x="285" y="501"/>
                    <a:pt x="285" y="501"/>
                  </a:cubicBezTo>
                  <a:cubicBezTo>
                    <a:pt x="288" y="502"/>
                    <a:pt x="291" y="502"/>
                    <a:pt x="294" y="502"/>
                  </a:cubicBezTo>
                  <a:cubicBezTo>
                    <a:pt x="303" y="502"/>
                    <a:pt x="312" y="497"/>
                    <a:pt x="315" y="488"/>
                  </a:cubicBezTo>
                  <a:cubicBezTo>
                    <a:pt x="320" y="476"/>
                    <a:pt x="315" y="462"/>
                    <a:pt x="303" y="457"/>
                  </a:cubicBezTo>
                  <a:cubicBezTo>
                    <a:pt x="191" y="411"/>
                    <a:pt x="191" y="411"/>
                    <a:pt x="191" y="411"/>
                  </a:cubicBezTo>
                  <a:cubicBezTo>
                    <a:pt x="283" y="188"/>
                    <a:pt x="283" y="188"/>
                    <a:pt x="283" y="188"/>
                  </a:cubicBezTo>
                  <a:cubicBezTo>
                    <a:pt x="408" y="237"/>
                    <a:pt x="540" y="263"/>
                    <a:pt x="676" y="266"/>
                  </a:cubicBezTo>
                  <a:cubicBezTo>
                    <a:pt x="676" y="507"/>
                    <a:pt x="676" y="507"/>
                    <a:pt x="676" y="507"/>
                  </a:cubicBezTo>
                  <a:cubicBezTo>
                    <a:pt x="556" y="507"/>
                    <a:pt x="556" y="507"/>
                    <a:pt x="556" y="507"/>
                  </a:cubicBezTo>
                  <a:cubicBezTo>
                    <a:pt x="543" y="507"/>
                    <a:pt x="532" y="518"/>
                    <a:pt x="532" y="531"/>
                  </a:cubicBezTo>
                  <a:cubicBezTo>
                    <a:pt x="532" y="544"/>
                    <a:pt x="543" y="555"/>
                    <a:pt x="556" y="555"/>
                  </a:cubicBezTo>
                  <a:cubicBezTo>
                    <a:pt x="844" y="555"/>
                    <a:pt x="844" y="555"/>
                    <a:pt x="844" y="555"/>
                  </a:cubicBezTo>
                  <a:cubicBezTo>
                    <a:pt x="857" y="555"/>
                    <a:pt x="868" y="544"/>
                    <a:pt x="868" y="531"/>
                  </a:cubicBezTo>
                  <a:cubicBezTo>
                    <a:pt x="868" y="518"/>
                    <a:pt x="857" y="507"/>
                    <a:pt x="844" y="507"/>
                  </a:cubicBezTo>
                  <a:cubicBezTo>
                    <a:pt x="724" y="507"/>
                    <a:pt x="724" y="507"/>
                    <a:pt x="724" y="507"/>
                  </a:cubicBezTo>
                  <a:cubicBezTo>
                    <a:pt x="724" y="265"/>
                    <a:pt x="724" y="265"/>
                    <a:pt x="724" y="265"/>
                  </a:cubicBezTo>
                  <a:cubicBezTo>
                    <a:pt x="860" y="263"/>
                    <a:pt x="992" y="236"/>
                    <a:pt x="1117" y="188"/>
                  </a:cubicBezTo>
                  <a:cubicBezTo>
                    <a:pt x="1209" y="411"/>
                    <a:pt x="1209" y="411"/>
                    <a:pt x="1209" y="411"/>
                  </a:cubicBezTo>
                  <a:cubicBezTo>
                    <a:pt x="1097" y="457"/>
                    <a:pt x="1097" y="457"/>
                    <a:pt x="1097" y="457"/>
                  </a:cubicBezTo>
                  <a:cubicBezTo>
                    <a:pt x="1085" y="462"/>
                    <a:pt x="1080" y="476"/>
                    <a:pt x="1085" y="488"/>
                  </a:cubicBezTo>
                  <a:cubicBezTo>
                    <a:pt x="1088" y="497"/>
                    <a:pt x="1097" y="502"/>
                    <a:pt x="1106" y="502"/>
                  </a:cubicBezTo>
                  <a:cubicBezTo>
                    <a:pt x="1109" y="502"/>
                    <a:pt x="1112" y="502"/>
                    <a:pt x="1115" y="501"/>
                  </a:cubicBezTo>
                  <a:cubicBezTo>
                    <a:pt x="1382" y="390"/>
                    <a:pt x="1382" y="390"/>
                    <a:pt x="1382" y="390"/>
                  </a:cubicBezTo>
                  <a:cubicBezTo>
                    <a:pt x="1394" y="385"/>
                    <a:pt x="1400" y="371"/>
                    <a:pt x="1395" y="359"/>
                  </a:cubicBezTo>
                  <a:cubicBezTo>
                    <a:pt x="1390" y="347"/>
                    <a:pt x="1376" y="342"/>
                    <a:pt x="1364" y="34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119;p1">
              <a:extLst>
                <a:ext uri="{FF2B5EF4-FFF2-40B4-BE49-F238E27FC236}">
                  <a16:creationId xmlns:a16="http://schemas.microsoft.com/office/drawing/2014/main" id="{6D8CC492-721C-4112-BCB4-463FBF38B435}"/>
                </a:ext>
              </a:extLst>
            </p:cNvPr>
            <p:cNvSpPr/>
            <p:nvPr/>
          </p:nvSpPr>
          <p:spPr>
            <a:xfrm>
              <a:off x="14216063" y="2730500"/>
              <a:ext cx="1588" cy="3175"/>
            </a:xfrm>
            <a:custGeom>
              <a:avLst/>
              <a:gdLst/>
              <a:ahLst/>
              <a:cxnLst/>
              <a:rect l="l" t="t" r="r" b="b"/>
              <a:pathLst>
                <a:path w="3" h="6" extrusionOk="0">
                  <a:moveTo>
                    <a:pt x="0" y="1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5"/>
                    <a:pt x="2" y="6"/>
                    <a:pt x="3" y="5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120;p1">
              <a:extLst>
                <a:ext uri="{FF2B5EF4-FFF2-40B4-BE49-F238E27FC236}">
                  <a16:creationId xmlns:a16="http://schemas.microsoft.com/office/drawing/2014/main" id="{C3970CE9-4E24-493A-A531-07B41A3892CD}"/>
                </a:ext>
              </a:extLst>
            </p:cNvPr>
            <p:cNvSpPr/>
            <p:nvPr/>
          </p:nvSpPr>
          <p:spPr>
            <a:xfrm>
              <a:off x="13796963" y="1917700"/>
              <a:ext cx="784225" cy="306388"/>
            </a:xfrm>
            <a:custGeom>
              <a:avLst/>
              <a:gdLst/>
              <a:ahLst/>
              <a:cxnLst/>
              <a:rect l="l" t="t" r="r" b="b"/>
              <a:pathLst>
                <a:path w="1400" h="548" extrusionOk="0">
                  <a:moveTo>
                    <a:pt x="27" y="209"/>
                  </a:moveTo>
                  <a:cubicBezTo>
                    <a:pt x="30" y="209"/>
                    <a:pt x="33" y="209"/>
                    <a:pt x="36" y="208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240" y="384"/>
                    <a:pt x="240" y="384"/>
                    <a:pt x="240" y="384"/>
                  </a:cubicBezTo>
                  <a:cubicBezTo>
                    <a:pt x="167" y="417"/>
                    <a:pt x="97" y="456"/>
                    <a:pt x="31" y="504"/>
                  </a:cubicBezTo>
                  <a:cubicBezTo>
                    <a:pt x="20" y="512"/>
                    <a:pt x="18" y="526"/>
                    <a:pt x="25" y="537"/>
                  </a:cubicBezTo>
                  <a:cubicBezTo>
                    <a:pt x="30" y="543"/>
                    <a:pt x="37" y="547"/>
                    <a:pt x="44" y="547"/>
                  </a:cubicBezTo>
                  <a:cubicBezTo>
                    <a:pt x="49" y="547"/>
                    <a:pt x="54" y="545"/>
                    <a:pt x="58" y="542"/>
                  </a:cubicBezTo>
                  <a:cubicBezTo>
                    <a:pt x="127" y="493"/>
                    <a:pt x="200" y="452"/>
                    <a:pt x="277" y="420"/>
                  </a:cubicBezTo>
                  <a:cubicBezTo>
                    <a:pt x="278" y="420"/>
                    <a:pt x="279" y="419"/>
                    <a:pt x="280" y="419"/>
                  </a:cubicBezTo>
                  <a:cubicBezTo>
                    <a:pt x="281" y="418"/>
                    <a:pt x="282" y="418"/>
                    <a:pt x="283" y="417"/>
                  </a:cubicBezTo>
                  <a:cubicBezTo>
                    <a:pt x="414" y="363"/>
                    <a:pt x="555" y="335"/>
                    <a:pt x="700" y="335"/>
                  </a:cubicBezTo>
                  <a:cubicBezTo>
                    <a:pt x="845" y="335"/>
                    <a:pt x="986" y="363"/>
                    <a:pt x="1117" y="417"/>
                  </a:cubicBezTo>
                  <a:cubicBezTo>
                    <a:pt x="1118" y="418"/>
                    <a:pt x="1119" y="418"/>
                    <a:pt x="1120" y="419"/>
                  </a:cubicBezTo>
                  <a:cubicBezTo>
                    <a:pt x="1121" y="419"/>
                    <a:pt x="1122" y="420"/>
                    <a:pt x="1123" y="420"/>
                  </a:cubicBezTo>
                  <a:cubicBezTo>
                    <a:pt x="1199" y="452"/>
                    <a:pt x="1271" y="492"/>
                    <a:pt x="1339" y="541"/>
                  </a:cubicBezTo>
                  <a:cubicBezTo>
                    <a:pt x="1350" y="548"/>
                    <a:pt x="1365" y="546"/>
                    <a:pt x="1372" y="535"/>
                  </a:cubicBezTo>
                  <a:cubicBezTo>
                    <a:pt x="1380" y="525"/>
                    <a:pt x="1377" y="510"/>
                    <a:pt x="1367" y="502"/>
                  </a:cubicBezTo>
                  <a:cubicBezTo>
                    <a:pt x="1302" y="455"/>
                    <a:pt x="1232" y="416"/>
                    <a:pt x="1160" y="384"/>
                  </a:cubicBezTo>
                  <a:cubicBezTo>
                    <a:pt x="1253" y="161"/>
                    <a:pt x="1253" y="161"/>
                    <a:pt x="1253" y="161"/>
                  </a:cubicBezTo>
                  <a:cubicBezTo>
                    <a:pt x="1364" y="208"/>
                    <a:pt x="1364" y="208"/>
                    <a:pt x="1364" y="208"/>
                  </a:cubicBezTo>
                  <a:cubicBezTo>
                    <a:pt x="1367" y="209"/>
                    <a:pt x="1370" y="209"/>
                    <a:pt x="1373" y="209"/>
                  </a:cubicBezTo>
                  <a:cubicBezTo>
                    <a:pt x="1382" y="209"/>
                    <a:pt x="1391" y="204"/>
                    <a:pt x="1395" y="195"/>
                  </a:cubicBezTo>
                  <a:cubicBezTo>
                    <a:pt x="1400" y="183"/>
                    <a:pt x="1394" y="169"/>
                    <a:pt x="1382" y="164"/>
                  </a:cubicBezTo>
                  <a:cubicBezTo>
                    <a:pt x="1249" y="109"/>
                    <a:pt x="1249" y="109"/>
                    <a:pt x="1249" y="109"/>
                  </a:cubicBezTo>
                  <a:cubicBezTo>
                    <a:pt x="1249" y="109"/>
                    <a:pt x="1249" y="109"/>
                    <a:pt x="1249" y="109"/>
                  </a:cubicBezTo>
                  <a:cubicBezTo>
                    <a:pt x="1249" y="109"/>
                    <a:pt x="1249" y="109"/>
                    <a:pt x="1249" y="109"/>
                  </a:cubicBezTo>
                  <a:cubicBezTo>
                    <a:pt x="1115" y="53"/>
                    <a:pt x="1115" y="53"/>
                    <a:pt x="1115" y="53"/>
                  </a:cubicBezTo>
                  <a:cubicBezTo>
                    <a:pt x="1103" y="49"/>
                    <a:pt x="1090" y="54"/>
                    <a:pt x="1085" y="66"/>
                  </a:cubicBezTo>
                  <a:cubicBezTo>
                    <a:pt x="1080" y="78"/>
                    <a:pt x="1085" y="92"/>
                    <a:pt x="1097" y="97"/>
                  </a:cubicBezTo>
                  <a:cubicBezTo>
                    <a:pt x="1209" y="143"/>
                    <a:pt x="1209" y="143"/>
                    <a:pt x="1209" y="143"/>
                  </a:cubicBezTo>
                  <a:cubicBezTo>
                    <a:pt x="1116" y="366"/>
                    <a:pt x="1116" y="366"/>
                    <a:pt x="1116" y="366"/>
                  </a:cubicBezTo>
                  <a:cubicBezTo>
                    <a:pt x="992" y="318"/>
                    <a:pt x="860" y="291"/>
                    <a:pt x="724" y="289"/>
                  </a:cubicBezTo>
                  <a:cubicBezTo>
                    <a:pt x="724" y="47"/>
                    <a:pt x="724" y="47"/>
                    <a:pt x="724" y="47"/>
                  </a:cubicBezTo>
                  <a:cubicBezTo>
                    <a:pt x="844" y="47"/>
                    <a:pt x="844" y="47"/>
                    <a:pt x="844" y="47"/>
                  </a:cubicBezTo>
                  <a:cubicBezTo>
                    <a:pt x="857" y="47"/>
                    <a:pt x="868" y="36"/>
                    <a:pt x="868" y="23"/>
                  </a:cubicBezTo>
                  <a:cubicBezTo>
                    <a:pt x="868" y="10"/>
                    <a:pt x="857" y="0"/>
                    <a:pt x="844" y="0"/>
                  </a:cubicBezTo>
                  <a:cubicBezTo>
                    <a:pt x="556" y="0"/>
                    <a:pt x="556" y="0"/>
                    <a:pt x="556" y="0"/>
                  </a:cubicBezTo>
                  <a:cubicBezTo>
                    <a:pt x="543" y="0"/>
                    <a:pt x="532" y="10"/>
                    <a:pt x="532" y="23"/>
                  </a:cubicBezTo>
                  <a:cubicBezTo>
                    <a:pt x="532" y="36"/>
                    <a:pt x="543" y="47"/>
                    <a:pt x="556" y="47"/>
                  </a:cubicBezTo>
                  <a:cubicBezTo>
                    <a:pt x="676" y="47"/>
                    <a:pt x="676" y="47"/>
                    <a:pt x="676" y="47"/>
                  </a:cubicBezTo>
                  <a:cubicBezTo>
                    <a:pt x="676" y="289"/>
                    <a:pt x="676" y="289"/>
                    <a:pt x="676" y="289"/>
                  </a:cubicBezTo>
                  <a:cubicBezTo>
                    <a:pt x="540" y="291"/>
                    <a:pt x="408" y="318"/>
                    <a:pt x="284" y="366"/>
                  </a:cubicBezTo>
                  <a:cubicBezTo>
                    <a:pt x="191" y="143"/>
                    <a:pt x="191" y="143"/>
                    <a:pt x="191" y="143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15" y="92"/>
                    <a:pt x="320" y="78"/>
                    <a:pt x="315" y="66"/>
                  </a:cubicBezTo>
                  <a:cubicBezTo>
                    <a:pt x="310" y="54"/>
                    <a:pt x="297" y="48"/>
                    <a:pt x="285" y="53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8" y="164"/>
                    <a:pt x="18" y="164"/>
                    <a:pt x="18" y="164"/>
                  </a:cubicBezTo>
                  <a:cubicBezTo>
                    <a:pt x="6" y="169"/>
                    <a:pt x="0" y="183"/>
                    <a:pt x="5" y="195"/>
                  </a:cubicBezTo>
                  <a:cubicBezTo>
                    <a:pt x="9" y="204"/>
                    <a:pt x="18" y="209"/>
                    <a:pt x="27" y="20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121;p1">
              <a:extLst>
                <a:ext uri="{FF2B5EF4-FFF2-40B4-BE49-F238E27FC236}">
                  <a16:creationId xmlns:a16="http://schemas.microsoft.com/office/drawing/2014/main" id="{04429120-BEA6-48DE-8F44-6AA26072EC50}"/>
                </a:ext>
              </a:extLst>
            </p:cNvPr>
            <p:cNvSpPr/>
            <p:nvPr/>
          </p:nvSpPr>
          <p:spPr>
            <a:xfrm>
              <a:off x="13385800" y="2328863"/>
              <a:ext cx="309563" cy="782638"/>
            </a:xfrm>
            <a:custGeom>
              <a:avLst/>
              <a:gdLst/>
              <a:ahLst/>
              <a:cxnLst/>
              <a:rect l="l" t="t" r="r" b="b"/>
              <a:pathLst>
                <a:path w="553" h="1396" extrusionOk="0">
                  <a:moveTo>
                    <a:pt x="208" y="1364"/>
                  </a:moveTo>
                  <a:cubicBezTo>
                    <a:pt x="162" y="1252"/>
                    <a:pt x="162" y="1252"/>
                    <a:pt x="162" y="1252"/>
                  </a:cubicBezTo>
                  <a:cubicBezTo>
                    <a:pt x="385" y="1160"/>
                    <a:pt x="385" y="1160"/>
                    <a:pt x="385" y="1160"/>
                  </a:cubicBezTo>
                  <a:cubicBezTo>
                    <a:pt x="417" y="1232"/>
                    <a:pt x="456" y="1301"/>
                    <a:pt x="503" y="1366"/>
                  </a:cubicBezTo>
                  <a:cubicBezTo>
                    <a:pt x="507" y="1373"/>
                    <a:pt x="514" y="1376"/>
                    <a:pt x="522" y="1376"/>
                  </a:cubicBezTo>
                  <a:cubicBezTo>
                    <a:pt x="526" y="1376"/>
                    <a:pt x="531" y="1375"/>
                    <a:pt x="535" y="1372"/>
                  </a:cubicBezTo>
                  <a:cubicBezTo>
                    <a:pt x="546" y="1364"/>
                    <a:pt x="549" y="1349"/>
                    <a:pt x="541" y="1339"/>
                  </a:cubicBezTo>
                  <a:cubicBezTo>
                    <a:pt x="492" y="1271"/>
                    <a:pt x="452" y="1198"/>
                    <a:pt x="420" y="1123"/>
                  </a:cubicBezTo>
                  <a:cubicBezTo>
                    <a:pt x="420" y="1122"/>
                    <a:pt x="420" y="1121"/>
                    <a:pt x="419" y="1120"/>
                  </a:cubicBezTo>
                  <a:cubicBezTo>
                    <a:pt x="419" y="1119"/>
                    <a:pt x="418" y="1117"/>
                    <a:pt x="418" y="1116"/>
                  </a:cubicBezTo>
                  <a:cubicBezTo>
                    <a:pt x="364" y="985"/>
                    <a:pt x="336" y="844"/>
                    <a:pt x="336" y="700"/>
                  </a:cubicBezTo>
                  <a:cubicBezTo>
                    <a:pt x="336" y="555"/>
                    <a:pt x="364" y="414"/>
                    <a:pt x="418" y="283"/>
                  </a:cubicBezTo>
                  <a:cubicBezTo>
                    <a:pt x="418" y="282"/>
                    <a:pt x="419" y="281"/>
                    <a:pt x="419" y="279"/>
                  </a:cubicBezTo>
                  <a:cubicBezTo>
                    <a:pt x="420" y="278"/>
                    <a:pt x="420" y="277"/>
                    <a:pt x="421" y="276"/>
                  </a:cubicBezTo>
                  <a:cubicBezTo>
                    <a:pt x="453" y="198"/>
                    <a:pt x="495" y="124"/>
                    <a:pt x="545" y="54"/>
                  </a:cubicBezTo>
                  <a:cubicBezTo>
                    <a:pt x="553" y="44"/>
                    <a:pt x="551" y="29"/>
                    <a:pt x="540" y="21"/>
                  </a:cubicBezTo>
                  <a:cubicBezTo>
                    <a:pt x="530" y="14"/>
                    <a:pt x="515" y="16"/>
                    <a:pt x="507" y="26"/>
                  </a:cubicBezTo>
                  <a:cubicBezTo>
                    <a:pt x="458" y="94"/>
                    <a:pt x="418" y="165"/>
                    <a:pt x="385" y="239"/>
                  </a:cubicBezTo>
                  <a:cubicBezTo>
                    <a:pt x="162" y="147"/>
                    <a:pt x="162" y="147"/>
                    <a:pt x="162" y="147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13" y="23"/>
                    <a:pt x="207" y="10"/>
                    <a:pt x="195" y="5"/>
                  </a:cubicBezTo>
                  <a:cubicBezTo>
                    <a:pt x="183" y="0"/>
                    <a:pt x="169" y="5"/>
                    <a:pt x="164" y="17"/>
                  </a:cubicBezTo>
                  <a:cubicBezTo>
                    <a:pt x="54" y="284"/>
                    <a:pt x="54" y="284"/>
                    <a:pt x="54" y="284"/>
                  </a:cubicBezTo>
                  <a:cubicBezTo>
                    <a:pt x="49" y="296"/>
                    <a:pt x="55" y="310"/>
                    <a:pt x="67" y="315"/>
                  </a:cubicBezTo>
                  <a:cubicBezTo>
                    <a:pt x="70" y="316"/>
                    <a:pt x="73" y="317"/>
                    <a:pt x="76" y="317"/>
                  </a:cubicBezTo>
                  <a:cubicBezTo>
                    <a:pt x="85" y="317"/>
                    <a:pt x="94" y="311"/>
                    <a:pt x="98" y="302"/>
                  </a:cubicBezTo>
                  <a:cubicBezTo>
                    <a:pt x="144" y="191"/>
                    <a:pt x="144" y="191"/>
                    <a:pt x="144" y="191"/>
                  </a:cubicBezTo>
                  <a:cubicBezTo>
                    <a:pt x="367" y="283"/>
                    <a:pt x="367" y="283"/>
                    <a:pt x="367" y="283"/>
                  </a:cubicBezTo>
                  <a:cubicBezTo>
                    <a:pt x="318" y="407"/>
                    <a:pt x="292" y="540"/>
                    <a:pt x="289" y="676"/>
                  </a:cubicBezTo>
                  <a:cubicBezTo>
                    <a:pt x="47" y="676"/>
                    <a:pt x="47" y="676"/>
                    <a:pt x="47" y="676"/>
                  </a:cubicBezTo>
                  <a:cubicBezTo>
                    <a:pt x="47" y="555"/>
                    <a:pt x="47" y="555"/>
                    <a:pt x="47" y="555"/>
                  </a:cubicBezTo>
                  <a:cubicBezTo>
                    <a:pt x="47" y="542"/>
                    <a:pt x="37" y="532"/>
                    <a:pt x="24" y="532"/>
                  </a:cubicBezTo>
                  <a:cubicBezTo>
                    <a:pt x="11" y="532"/>
                    <a:pt x="0" y="542"/>
                    <a:pt x="0" y="555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57"/>
                    <a:pt x="11" y="867"/>
                    <a:pt x="24" y="867"/>
                  </a:cubicBezTo>
                  <a:cubicBezTo>
                    <a:pt x="37" y="867"/>
                    <a:pt x="47" y="857"/>
                    <a:pt x="47" y="844"/>
                  </a:cubicBezTo>
                  <a:cubicBezTo>
                    <a:pt x="47" y="723"/>
                    <a:pt x="47" y="723"/>
                    <a:pt x="47" y="723"/>
                  </a:cubicBezTo>
                  <a:cubicBezTo>
                    <a:pt x="289" y="723"/>
                    <a:pt x="289" y="723"/>
                    <a:pt x="289" y="723"/>
                  </a:cubicBezTo>
                  <a:cubicBezTo>
                    <a:pt x="292" y="859"/>
                    <a:pt x="318" y="992"/>
                    <a:pt x="367" y="1116"/>
                  </a:cubicBezTo>
                  <a:cubicBezTo>
                    <a:pt x="144" y="1208"/>
                    <a:pt x="144" y="1208"/>
                    <a:pt x="144" y="1208"/>
                  </a:cubicBezTo>
                  <a:cubicBezTo>
                    <a:pt x="98" y="1097"/>
                    <a:pt x="98" y="1097"/>
                    <a:pt x="98" y="1097"/>
                  </a:cubicBezTo>
                  <a:cubicBezTo>
                    <a:pt x="93" y="1085"/>
                    <a:pt x="79" y="1079"/>
                    <a:pt x="67" y="1084"/>
                  </a:cubicBezTo>
                  <a:cubicBezTo>
                    <a:pt x="55" y="1089"/>
                    <a:pt x="49" y="1103"/>
                    <a:pt x="54" y="1115"/>
                  </a:cubicBezTo>
                  <a:cubicBezTo>
                    <a:pt x="164" y="1382"/>
                    <a:pt x="164" y="1382"/>
                    <a:pt x="164" y="1382"/>
                  </a:cubicBezTo>
                  <a:cubicBezTo>
                    <a:pt x="168" y="1391"/>
                    <a:pt x="177" y="1396"/>
                    <a:pt x="186" y="1396"/>
                  </a:cubicBezTo>
                  <a:cubicBezTo>
                    <a:pt x="189" y="1396"/>
                    <a:pt x="192" y="1396"/>
                    <a:pt x="195" y="1394"/>
                  </a:cubicBezTo>
                  <a:cubicBezTo>
                    <a:pt x="207" y="1389"/>
                    <a:pt x="213" y="1376"/>
                    <a:pt x="208" y="136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122;p1">
              <a:extLst>
                <a:ext uri="{FF2B5EF4-FFF2-40B4-BE49-F238E27FC236}">
                  <a16:creationId xmlns:a16="http://schemas.microsoft.com/office/drawing/2014/main" id="{9C9D4DA1-B15B-4D92-8C1B-33CAD9F3C373}"/>
                </a:ext>
              </a:extLst>
            </p:cNvPr>
            <p:cNvSpPr/>
            <p:nvPr/>
          </p:nvSpPr>
          <p:spPr>
            <a:xfrm>
              <a:off x="14274800" y="2789238"/>
              <a:ext cx="14288" cy="92075"/>
            </a:xfrm>
            <a:custGeom>
              <a:avLst/>
              <a:gdLst/>
              <a:ahLst/>
              <a:cxnLst/>
              <a:rect l="l" t="t" r="r" b="b"/>
              <a:pathLst>
                <a:path w="25" h="163" extrusionOk="0">
                  <a:moveTo>
                    <a:pt x="7" y="0"/>
                  </a:moveTo>
                  <a:cubicBezTo>
                    <a:pt x="0" y="0"/>
                    <a:pt x="15" y="40"/>
                    <a:pt x="16" y="77"/>
                  </a:cubicBezTo>
                  <a:cubicBezTo>
                    <a:pt x="16" y="84"/>
                    <a:pt x="18" y="103"/>
                    <a:pt x="19" y="120"/>
                  </a:cubicBezTo>
                  <a:cubicBezTo>
                    <a:pt x="20" y="137"/>
                    <a:pt x="20" y="163"/>
                    <a:pt x="23" y="158"/>
                  </a:cubicBezTo>
                  <a:cubicBezTo>
                    <a:pt x="24" y="156"/>
                    <a:pt x="25" y="129"/>
                    <a:pt x="24" y="123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3" y="51"/>
                    <a:pt x="18" y="1"/>
                    <a:pt x="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123;p1">
              <a:extLst>
                <a:ext uri="{FF2B5EF4-FFF2-40B4-BE49-F238E27FC236}">
                  <a16:creationId xmlns:a16="http://schemas.microsoft.com/office/drawing/2014/main" id="{7BE76FB4-6791-46DE-A9B0-E4253F93221E}"/>
                </a:ext>
              </a:extLst>
            </p:cNvPr>
            <p:cNvSpPr/>
            <p:nvPr/>
          </p:nvSpPr>
          <p:spPr>
            <a:xfrm>
              <a:off x="14119225" y="2409825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6" extrusionOk="0">
                  <a:moveTo>
                    <a:pt x="0" y="3"/>
                  </a:moveTo>
                  <a:cubicBezTo>
                    <a:pt x="0" y="6"/>
                    <a:pt x="3" y="6"/>
                    <a:pt x="5" y="6"/>
                  </a:cubicBezTo>
                  <a:cubicBezTo>
                    <a:pt x="8" y="4"/>
                    <a:pt x="7" y="0"/>
                    <a:pt x="4" y="0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124;p1">
              <a:extLst>
                <a:ext uri="{FF2B5EF4-FFF2-40B4-BE49-F238E27FC236}">
                  <a16:creationId xmlns:a16="http://schemas.microsoft.com/office/drawing/2014/main" id="{B08D9D92-2036-4666-B606-C574F7771F01}"/>
                </a:ext>
              </a:extLst>
            </p:cNvPr>
            <p:cNvSpPr/>
            <p:nvPr/>
          </p:nvSpPr>
          <p:spPr>
            <a:xfrm>
              <a:off x="14023975" y="25114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7" h="9" extrusionOk="0">
                  <a:moveTo>
                    <a:pt x="1" y="2"/>
                  </a:move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4" y="9"/>
                    <a:pt x="6" y="6"/>
                    <a:pt x="6" y="4"/>
                  </a:cubicBezTo>
                  <a:cubicBezTo>
                    <a:pt x="7" y="1"/>
                    <a:pt x="4" y="0"/>
                    <a:pt x="1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125;p1">
              <a:extLst>
                <a:ext uri="{FF2B5EF4-FFF2-40B4-BE49-F238E27FC236}">
                  <a16:creationId xmlns:a16="http://schemas.microsoft.com/office/drawing/2014/main" id="{34C0A0E0-A0CC-41A7-8DB6-4C65E91F86D6}"/>
                </a:ext>
              </a:extLst>
            </p:cNvPr>
            <p:cNvSpPr/>
            <p:nvPr/>
          </p:nvSpPr>
          <p:spPr>
            <a:xfrm>
              <a:off x="14028738" y="2516188"/>
              <a:ext cx="4763" cy="6350"/>
            </a:xfrm>
            <a:custGeom>
              <a:avLst/>
              <a:gdLst/>
              <a:ahLst/>
              <a:cxnLst/>
              <a:rect l="l" t="t" r="r" b="b"/>
              <a:pathLst>
                <a:path w="9" h="11" extrusionOk="0">
                  <a:moveTo>
                    <a:pt x="2" y="2"/>
                  </a:moveTo>
                  <a:cubicBezTo>
                    <a:pt x="0" y="3"/>
                    <a:pt x="0" y="5"/>
                    <a:pt x="1" y="6"/>
                  </a:cubicBezTo>
                  <a:cubicBezTo>
                    <a:pt x="1" y="8"/>
                    <a:pt x="3" y="11"/>
                    <a:pt x="5" y="9"/>
                  </a:cubicBezTo>
                  <a:cubicBezTo>
                    <a:pt x="8" y="8"/>
                    <a:pt x="6" y="4"/>
                    <a:pt x="8" y="3"/>
                  </a:cubicBezTo>
                  <a:cubicBezTo>
                    <a:pt x="9" y="2"/>
                    <a:pt x="8" y="1"/>
                    <a:pt x="7" y="0"/>
                  </a:cubicBezTo>
                  <a:cubicBezTo>
                    <a:pt x="6" y="0"/>
                    <a:pt x="3" y="0"/>
                    <a:pt x="2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126;p1">
              <a:extLst>
                <a:ext uri="{FF2B5EF4-FFF2-40B4-BE49-F238E27FC236}">
                  <a16:creationId xmlns:a16="http://schemas.microsoft.com/office/drawing/2014/main" id="{6E6CF980-30FA-416E-A284-C8D2F24A314A}"/>
                </a:ext>
              </a:extLst>
            </p:cNvPr>
            <p:cNvSpPr/>
            <p:nvPr/>
          </p:nvSpPr>
          <p:spPr>
            <a:xfrm>
              <a:off x="14217650" y="2735263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6" h="6" extrusionOk="0">
                  <a:moveTo>
                    <a:pt x="1" y="2"/>
                  </a:move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5"/>
                    <a:pt x="5" y="4"/>
                  </a:cubicBezTo>
                  <a:cubicBezTo>
                    <a:pt x="5" y="3"/>
                    <a:pt x="6" y="1"/>
                    <a:pt x="4" y="0"/>
                  </a:cubicBezTo>
                  <a:cubicBezTo>
                    <a:pt x="3" y="0"/>
                    <a:pt x="2" y="1"/>
                    <a:pt x="1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127;p1">
              <a:extLst>
                <a:ext uri="{FF2B5EF4-FFF2-40B4-BE49-F238E27FC236}">
                  <a16:creationId xmlns:a16="http://schemas.microsoft.com/office/drawing/2014/main" id="{1CA9D23D-CA4B-481A-B3C1-4A47DAD6FA5C}"/>
                </a:ext>
              </a:extLst>
            </p:cNvPr>
            <p:cNvSpPr/>
            <p:nvPr/>
          </p:nvSpPr>
          <p:spPr>
            <a:xfrm>
              <a:off x="14154150" y="2376488"/>
              <a:ext cx="15875" cy="12700"/>
            </a:xfrm>
            <a:custGeom>
              <a:avLst/>
              <a:gdLst/>
              <a:ahLst/>
              <a:cxnLst/>
              <a:rect l="l" t="t" r="r" b="b"/>
              <a:pathLst>
                <a:path w="29" h="21" extrusionOk="0">
                  <a:moveTo>
                    <a:pt x="13" y="21"/>
                  </a:moveTo>
                  <a:cubicBezTo>
                    <a:pt x="17" y="21"/>
                    <a:pt x="29" y="17"/>
                    <a:pt x="29" y="13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3"/>
                    <a:pt x="14" y="18"/>
                    <a:pt x="13" y="13"/>
                  </a:cubicBezTo>
                  <a:cubicBezTo>
                    <a:pt x="13" y="10"/>
                    <a:pt x="13" y="10"/>
                    <a:pt x="14" y="8"/>
                  </a:cubicBezTo>
                  <a:cubicBezTo>
                    <a:pt x="16" y="5"/>
                    <a:pt x="8" y="0"/>
                    <a:pt x="5" y="5"/>
                  </a:cubicBezTo>
                  <a:cubicBezTo>
                    <a:pt x="0" y="12"/>
                    <a:pt x="5" y="21"/>
                    <a:pt x="13" y="2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128;p1">
              <a:extLst>
                <a:ext uri="{FF2B5EF4-FFF2-40B4-BE49-F238E27FC236}">
                  <a16:creationId xmlns:a16="http://schemas.microsoft.com/office/drawing/2014/main" id="{61C58F8D-9EE5-42B4-AB18-19E214D253F8}"/>
                </a:ext>
              </a:extLst>
            </p:cNvPr>
            <p:cNvSpPr/>
            <p:nvPr/>
          </p:nvSpPr>
          <p:spPr>
            <a:xfrm>
              <a:off x="14031913" y="2936875"/>
              <a:ext cx="4763" cy="4763"/>
            </a:xfrm>
            <a:custGeom>
              <a:avLst/>
              <a:gdLst/>
              <a:ahLst/>
              <a:cxnLst/>
              <a:rect l="l" t="t" r="r" b="b"/>
              <a:pathLst>
                <a:path w="9" h="7" extrusionOk="0">
                  <a:moveTo>
                    <a:pt x="4" y="1"/>
                  </a:moveTo>
                  <a:cubicBezTo>
                    <a:pt x="3" y="1"/>
                    <a:pt x="1" y="3"/>
                    <a:pt x="0" y="4"/>
                  </a:cubicBezTo>
                  <a:cubicBezTo>
                    <a:pt x="0" y="5"/>
                    <a:pt x="0" y="7"/>
                    <a:pt x="1" y="7"/>
                  </a:cubicBezTo>
                  <a:cubicBezTo>
                    <a:pt x="2" y="7"/>
                    <a:pt x="4" y="6"/>
                    <a:pt x="5" y="4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5" y="0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129;p1">
              <a:extLst>
                <a:ext uri="{FF2B5EF4-FFF2-40B4-BE49-F238E27FC236}">
                  <a16:creationId xmlns:a16="http://schemas.microsoft.com/office/drawing/2014/main" id="{9BC119BE-581F-4CF7-96B1-B22E1779581A}"/>
                </a:ext>
              </a:extLst>
            </p:cNvPr>
            <p:cNvSpPr/>
            <p:nvPr/>
          </p:nvSpPr>
          <p:spPr>
            <a:xfrm>
              <a:off x="14138275" y="2368550"/>
              <a:ext cx="61913" cy="33338"/>
            </a:xfrm>
            <a:custGeom>
              <a:avLst/>
              <a:gdLst/>
              <a:ahLst/>
              <a:cxnLst/>
              <a:rect l="l" t="t" r="r" b="b"/>
              <a:pathLst>
                <a:path w="109" h="59" extrusionOk="0">
                  <a:moveTo>
                    <a:pt x="86" y="16"/>
                  </a:moveTo>
                  <a:cubicBezTo>
                    <a:pt x="77" y="17"/>
                    <a:pt x="72" y="16"/>
                    <a:pt x="68" y="16"/>
                  </a:cubicBezTo>
                  <a:cubicBezTo>
                    <a:pt x="60" y="14"/>
                    <a:pt x="55" y="12"/>
                    <a:pt x="49" y="10"/>
                  </a:cubicBezTo>
                  <a:cubicBezTo>
                    <a:pt x="42" y="8"/>
                    <a:pt x="36" y="0"/>
                    <a:pt x="30" y="1"/>
                  </a:cubicBezTo>
                  <a:cubicBezTo>
                    <a:pt x="27" y="6"/>
                    <a:pt x="21" y="12"/>
                    <a:pt x="16" y="17"/>
                  </a:cubicBezTo>
                  <a:cubicBezTo>
                    <a:pt x="12" y="20"/>
                    <a:pt x="7" y="23"/>
                    <a:pt x="2" y="26"/>
                  </a:cubicBezTo>
                  <a:cubicBezTo>
                    <a:pt x="1" y="27"/>
                    <a:pt x="0" y="36"/>
                    <a:pt x="5" y="32"/>
                  </a:cubicBezTo>
                  <a:cubicBezTo>
                    <a:pt x="8" y="31"/>
                    <a:pt x="12" y="28"/>
                    <a:pt x="16" y="25"/>
                  </a:cubicBezTo>
                  <a:cubicBezTo>
                    <a:pt x="15" y="55"/>
                    <a:pt x="62" y="59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9" y="24"/>
                    <a:pt x="70" y="24"/>
                    <a:pt x="70" y="24"/>
                  </a:cubicBezTo>
                  <a:cubicBezTo>
                    <a:pt x="76" y="24"/>
                    <a:pt x="109" y="25"/>
                    <a:pt x="103" y="15"/>
                  </a:cubicBezTo>
                  <a:cubicBezTo>
                    <a:pt x="99" y="15"/>
                    <a:pt x="95" y="15"/>
                    <a:pt x="86" y="16"/>
                  </a:cubicBezTo>
                  <a:close/>
                  <a:moveTo>
                    <a:pt x="59" y="34"/>
                  </a:moveTo>
                  <a:cubicBezTo>
                    <a:pt x="56" y="37"/>
                    <a:pt x="53" y="38"/>
                    <a:pt x="48" y="40"/>
                  </a:cubicBezTo>
                  <a:cubicBezTo>
                    <a:pt x="44" y="40"/>
                    <a:pt x="42" y="41"/>
                    <a:pt x="37" y="40"/>
                  </a:cubicBezTo>
                  <a:cubicBezTo>
                    <a:pt x="33" y="39"/>
                    <a:pt x="29" y="38"/>
                    <a:pt x="26" y="35"/>
                  </a:cubicBezTo>
                  <a:cubicBezTo>
                    <a:pt x="24" y="33"/>
                    <a:pt x="23" y="31"/>
                    <a:pt x="22" y="27"/>
                  </a:cubicBezTo>
                  <a:cubicBezTo>
                    <a:pt x="22" y="25"/>
                    <a:pt x="22" y="23"/>
                    <a:pt x="22" y="20"/>
                  </a:cubicBezTo>
                  <a:cubicBezTo>
                    <a:pt x="27" y="16"/>
                    <a:pt x="32" y="9"/>
                    <a:pt x="32" y="9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0" y="17"/>
                    <a:pt x="52" y="21"/>
                    <a:pt x="61" y="23"/>
                  </a:cubicBezTo>
                  <a:cubicBezTo>
                    <a:pt x="61" y="28"/>
                    <a:pt x="61" y="32"/>
                    <a:pt x="59" y="3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130;p1">
              <a:extLst>
                <a:ext uri="{FF2B5EF4-FFF2-40B4-BE49-F238E27FC236}">
                  <a16:creationId xmlns:a16="http://schemas.microsoft.com/office/drawing/2014/main" id="{0E0B924C-CD99-453A-B2F4-6B51BB86E8ED}"/>
                </a:ext>
              </a:extLst>
            </p:cNvPr>
            <p:cNvSpPr/>
            <p:nvPr/>
          </p:nvSpPr>
          <p:spPr>
            <a:xfrm>
              <a:off x="14019213" y="2506663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7" extrusionOk="0">
                  <a:moveTo>
                    <a:pt x="5" y="1"/>
                  </a:moveTo>
                  <a:cubicBezTo>
                    <a:pt x="4" y="1"/>
                    <a:pt x="1" y="3"/>
                    <a:pt x="1" y="4"/>
                  </a:cubicBezTo>
                  <a:cubicBezTo>
                    <a:pt x="0" y="4"/>
                    <a:pt x="0" y="6"/>
                    <a:pt x="1" y="6"/>
                  </a:cubicBezTo>
                  <a:cubicBezTo>
                    <a:pt x="3" y="7"/>
                    <a:pt x="5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0"/>
                    <a:pt x="7" y="0"/>
                    <a:pt x="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131;p1">
              <a:extLst>
                <a:ext uri="{FF2B5EF4-FFF2-40B4-BE49-F238E27FC236}">
                  <a16:creationId xmlns:a16="http://schemas.microsoft.com/office/drawing/2014/main" id="{1F9CAD42-DD79-4033-9F3E-EA4253D4B890}"/>
                </a:ext>
              </a:extLst>
            </p:cNvPr>
            <p:cNvSpPr/>
            <p:nvPr/>
          </p:nvSpPr>
          <p:spPr>
            <a:xfrm>
              <a:off x="14033500" y="2520950"/>
              <a:ext cx="6350" cy="7938"/>
            </a:xfrm>
            <a:custGeom>
              <a:avLst/>
              <a:gdLst/>
              <a:ahLst/>
              <a:cxnLst/>
              <a:rect l="l" t="t" r="r" b="b"/>
              <a:pathLst>
                <a:path w="9" h="12" extrusionOk="0">
                  <a:moveTo>
                    <a:pt x="8" y="0"/>
                  </a:moveTo>
                  <a:cubicBezTo>
                    <a:pt x="6" y="1"/>
                    <a:pt x="4" y="1"/>
                    <a:pt x="3" y="2"/>
                  </a:cubicBezTo>
                  <a:cubicBezTo>
                    <a:pt x="0" y="6"/>
                    <a:pt x="0" y="11"/>
                    <a:pt x="3" y="12"/>
                  </a:cubicBezTo>
                  <a:cubicBezTo>
                    <a:pt x="7" y="12"/>
                    <a:pt x="6" y="8"/>
                    <a:pt x="6" y="7"/>
                  </a:cubicBezTo>
                  <a:cubicBezTo>
                    <a:pt x="6" y="6"/>
                    <a:pt x="8" y="4"/>
                    <a:pt x="9" y="3"/>
                  </a:cubicBezTo>
                  <a:cubicBezTo>
                    <a:pt x="9" y="3"/>
                    <a:pt x="9" y="0"/>
                    <a:pt x="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132;p1">
              <a:extLst>
                <a:ext uri="{FF2B5EF4-FFF2-40B4-BE49-F238E27FC236}">
                  <a16:creationId xmlns:a16="http://schemas.microsoft.com/office/drawing/2014/main" id="{14463FA6-FB9A-4E64-9009-E7C29035CC47}"/>
                </a:ext>
              </a:extLst>
            </p:cNvPr>
            <p:cNvSpPr/>
            <p:nvPr/>
          </p:nvSpPr>
          <p:spPr>
            <a:xfrm>
              <a:off x="14760575" y="3302000"/>
              <a:ext cx="77788" cy="74613"/>
            </a:xfrm>
            <a:custGeom>
              <a:avLst/>
              <a:gdLst/>
              <a:ahLst/>
              <a:cxnLst/>
              <a:rect l="l" t="t" r="r" b="b"/>
              <a:pathLst>
                <a:path w="140" h="133" extrusionOk="0">
                  <a:moveTo>
                    <a:pt x="67" y="0"/>
                  </a:moveTo>
                  <a:cubicBezTo>
                    <a:pt x="49" y="0"/>
                    <a:pt x="32" y="7"/>
                    <a:pt x="20" y="20"/>
                  </a:cubicBezTo>
                  <a:cubicBezTo>
                    <a:pt x="7" y="32"/>
                    <a:pt x="0" y="49"/>
                    <a:pt x="0" y="67"/>
                  </a:cubicBezTo>
                  <a:cubicBezTo>
                    <a:pt x="0" y="84"/>
                    <a:pt x="7" y="101"/>
                    <a:pt x="20" y="114"/>
                  </a:cubicBezTo>
                  <a:cubicBezTo>
                    <a:pt x="32" y="126"/>
                    <a:pt x="49" y="133"/>
                    <a:pt x="67" y="133"/>
                  </a:cubicBezTo>
                  <a:cubicBezTo>
                    <a:pt x="84" y="133"/>
                    <a:pt x="101" y="126"/>
                    <a:pt x="114" y="114"/>
                  </a:cubicBezTo>
                  <a:cubicBezTo>
                    <a:pt x="140" y="88"/>
                    <a:pt x="140" y="46"/>
                    <a:pt x="114" y="20"/>
                  </a:cubicBezTo>
                  <a:cubicBezTo>
                    <a:pt x="101" y="7"/>
                    <a:pt x="84" y="0"/>
                    <a:pt x="67" y="0"/>
                  </a:cubicBezTo>
                  <a:close/>
                  <a:moveTo>
                    <a:pt x="67" y="18"/>
                  </a:moveTo>
                  <a:cubicBezTo>
                    <a:pt x="71" y="18"/>
                    <a:pt x="75" y="19"/>
                    <a:pt x="79" y="20"/>
                  </a:cubicBezTo>
                  <a:cubicBezTo>
                    <a:pt x="75" y="19"/>
                    <a:pt x="71" y="18"/>
                    <a:pt x="67" y="18"/>
                  </a:cubicBezTo>
                  <a:close/>
                  <a:moveTo>
                    <a:pt x="67" y="116"/>
                  </a:moveTo>
                  <a:cubicBezTo>
                    <a:pt x="67" y="116"/>
                    <a:pt x="67" y="116"/>
                    <a:pt x="67" y="116"/>
                  </a:cubicBezTo>
                  <a:cubicBezTo>
                    <a:pt x="73" y="116"/>
                    <a:pt x="79" y="114"/>
                    <a:pt x="85" y="112"/>
                  </a:cubicBezTo>
                  <a:cubicBezTo>
                    <a:pt x="79" y="114"/>
                    <a:pt x="73" y="116"/>
                    <a:pt x="67" y="116"/>
                  </a:cubicBezTo>
                  <a:close/>
                  <a:moveTo>
                    <a:pt x="95" y="95"/>
                  </a:moveTo>
                  <a:cubicBezTo>
                    <a:pt x="87" y="103"/>
                    <a:pt x="77" y="107"/>
                    <a:pt x="67" y="107"/>
                  </a:cubicBezTo>
                  <a:cubicBezTo>
                    <a:pt x="56" y="107"/>
                    <a:pt x="46" y="103"/>
                    <a:pt x="38" y="95"/>
                  </a:cubicBezTo>
                  <a:cubicBezTo>
                    <a:pt x="31" y="88"/>
                    <a:pt x="26" y="77"/>
                    <a:pt x="26" y="67"/>
                  </a:cubicBezTo>
                  <a:cubicBezTo>
                    <a:pt x="26" y="56"/>
                    <a:pt x="31" y="46"/>
                    <a:pt x="38" y="38"/>
                  </a:cubicBezTo>
                  <a:cubicBezTo>
                    <a:pt x="46" y="31"/>
                    <a:pt x="56" y="27"/>
                    <a:pt x="67" y="27"/>
                  </a:cubicBezTo>
                  <a:cubicBezTo>
                    <a:pt x="77" y="27"/>
                    <a:pt x="87" y="31"/>
                    <a:pt x="95" y="38"/>
                  </a:cubicBezTo>
                  <a:cubicBezTo>
                    <a:pt x="111" y="54"/>
                    <a:pt x="111" y="79"/>
                    <a:pt x="95" y="9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133;p1">
              <a:extLst>
                <a:ext uri="{FF2B5EF4-FFF2-40B4-BE49-F238E27FC236}">
                  <a16:creationId xmlns:a16="http://schemas.microsoft.com/office/drawing/2014/main" id="{D9CABB05-482F-4C22-9DBF-D51390DA9A6F}"/>
                </a:ext>
              </a:extLst>
            </p:cNvPr>
            <p:cNvSpPr/>
            <p:nvPr/>
          </p:nvSpPr>
          <p:spPr>
            <a:xfrm>
              <a:off x="14038263" y="2932113"/>
              <a:ext cx="4763" cy="6350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2" y="7"/>
                  </a:moveTo>
                  <a:cubicBezTo>
                    <a:pt x="2" y="8"/>
                    <a:pt x="4" y="11"/>
                    <a:pt x="5" y="10"/>
                  </a:cubicBezTo>
                  <a:cubicBezTo>
                    <a:pt x="6" y="9"/>
                    <a:pt x="6" y="8"/>
                    <a:pt x="6" y="7"/>
                  </a:cubicBezTo>
                  <a:cubicBezTo>
                    <a:pt x="7" y="6"/>
                    <a:pt x="7" y="5"/>
                    <a:pt x="7" y="4"/>
                  </a:cubicBezTo>
                  <a:cubicBezTo>
                    <a:pt x="7" y="0"/>
                    <a:pt x="0" y="3"/>
                    <a:pt x="2" y="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134;p1">
              <a:extLst>
                <a:ext uri="{FF2B5EF4-FFF2-40B4-BE49-F238E27FC236}">
                  <a16:creationId xmlns:a16="http://schemas.microsoft.com/office/drawing/2014/main" id="{84DA682E-502E-44F5-8EDF-4D1619C3E454}"/>
                </a:ext>
              </a:extLst>
            </p:cNvPr>
            <p:cNvSpPr/>
            <p:nvPr/>
          </p:nvSpPr>
          <p:spPr>
            <a:xfrm>
              <a:off x="14681200" y="2328863"/>
              <a:ext cx="311150" cy="782638"/>
            </a:xfrm>
            <a:custGeom>
              <a:avLst/>
              <a:gdLst/>
              <a:ahLst/>
              <a:cxnLst/>
              <a:rect l="l" t="t" r="r" b="b"/>
              <a:pathLst>
                <a:path w="555" h="1396" extrusionOk="0">
                  <a:moveTo>
                    <a:pt x="531" y="532"/>
                  </a:moveTo>
                  <a:cubicBezTo>
                    <a:pt x="518" y="532"/>
                    <a:pt x="508" y="542"/>
                    <a:pt x="508" y="555"/>
                  </a:cubicBezTo>
                  <a:cubicBezTo>
                    <a:pt x="508" y="676"/>
                    <a:pt x="508" y="676"/>
                    <a:pt x="508" y="676"/>
                  </a:cubicBezTo>
                  <a:cubicBezTo>
                    <a:pt x="266" y="676"/>
                    <a:pt x="266" y="676"/>
                    <a:pt x="266" y="676"/>
                  </a:cubicBezTo>
                  <a:cubicBezTo>
                    <a:pt x="263" y="540"/>
                    <a:pt x="237" y="407"/>
                    <a:pt x="188" y="283"/>
                  </a:cubicBezTo>
                  <a:cubicBezTo>
                    <a:pt x="411" y="191"/>
                    <a:pt x="411" y="191"/>
                    <a:pt x="411" y="191"/>
                  </a:cubicBezTo>
                  <a:cubicBezTo>
                    <a:pt x="457" y="302"/>
                    <a:pt x="457" y="302"/>
                    <a:pt x="457" y="302"/>
                  </a:cubicBezTo>
                  <a:cubicBezTo>
                    <a:pt x="461" y="311"/>
                    <a:pt x="470" y="317"/>
                    <a:pt x="479" y="317"/>
                  </a:cubicBezTo>
                  <a:cubicBezTo>
                    <a:pt x="482" y="317"/>
                    <a:pt x="485" y="316"/>
                    <a:pt x="488" y="315"/>
                  </a:cubicBezTo>
                  <a:cubicBezTo>
                    <a:pt x="500" y="310"/>
                    <a:pt x="506" y="296"/>
                    <a:pt x="501" y="284"/>
                  </a:cubicBezTo>
                  <a:cubicBezTo>
                    <a:pt x="391" y="17"/>
                    <a:pt x="391" y="17"/>
                    <a:pt x="391" y="17"/>
                  </a:cubicBezTo>
                  <a:cubicBezTo>
                    <a:pt x="386" y="5"/>
                    <a:pt x="372" y="0"/>
                    <a:pt x="360" y="5"/>
                  </a:cubicBezTo>
                  <a:cubicBezTo>
                    <a:pt x="348" y="10"/>
                    <a:pt x="342" y="23"/>
                    <a:pt x="347" y="36"/>
                  </a:cubicBezTo>
                  <a:cubicBezTo>
                    <a:pt x="393" y="147"/>
                    <a:pt x="393" y="147"/>
                    <a:pt x="393" y="147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37" y="164"/>
                    <a:pt x="96" y="92"/>
                    <a:pt x="46" y="24"/>
                  </a:cubicBezTo>
                  <a:cubicBezTo>
                    <a:pt x="38" y="13"/>
                    <a:pt x="23" y="11"/>
                    <a:pt x="13" y="19"/>
                  </a:cubicBezTo>
                  <a:cubicBezTo>
                    <a:pt x="2" y="26"/>
                    <a:pt x="0" y="41"/>
                    <a:pt x="8" y="52"/>
                  </a:cubicBezTo>
                  <a:cubicBezTo>
                    <a:pt x="59" y="122"/>
                    <a:pt x="101" y="197"/>
                    <a:pt x="134" y="275"/>
                  </a:cubicBezTo>
                  <a:cubicBezTo>
                    <a:pt x="135" y="277"/>
                    <a:pt x="135" y="278"/>
                    <a:pt x="136" y="279"/>
                  </a:cubicBezTo>
                  <a:cubicBezTo>
                    <a:pt x="136" y="281"/>
                    <a:pt x="137" y="282"/>
                    <a:pt x="137" y="283"/>
                  </a:cubicBezTo>
                  <a:cubicBezTo>
                    <a:pt x="191" y="414"/>
                    <a:pt x="219" y="555"/>
                    <a:pt x="219" y="700"/>
                  </a:cubicBezTo>
                  <a:cubicBezTo>
                    <a:pt x="219" y="844"/>
                    <a:pt x="191" y="985"/>
                    <a:pt x="137" y="1116"/>
                  </a:cubicBezTo>
                  <a:cubicBezTo>
                    <a:pt x="137" y="1117"/>
                    <a:pt x="136" y="1119"/>
                    <a:pt x="136" y="1120"/>
                  </a:cubicBezTo>
                  <a:cubicBezTo>
                    <a:pt x="135" y="1121"/>
                    <a:pt x="135" y="1122"/>
                    <a:pt x="135" y="1123"/>
                  </a:cubicBezTo>
                  <a:cubicBezTo>
                    <a:pt x="102" y="1200"/>
                    <a:pt x="61" y="1273"/>
                    <a:pt x="12" y="1342"/>
                  </a:cubicBezTo>
                  <a:cubicBezTo>
                    <a:pt x="4" y="1353"/>
                    <a:pt x="6" y="1368"/>
                    <a:pt x="17" y="1375"/>
                  </a:cubicBezTo>
                  <a:cubicBezTo>
                    <a:pt x="21" y="1378"/>
                    <a:pt x="26" y="1380"/>
                    <a:pt x="31" y="1380"/>
                  </a:cubicBezTo>
                  <a:cubicBezTo>
                    <a:pt x="38" y="1380"/>
                    <a:pt x="45" y="1376"/>
                    <a:pt x="50" y="1370"/>
                  </a:cubicBezTo>
                  <a:cubicBezTo>
                    <a:pt x="98" y="1304"/>
                    <a:pt x="138" y="1233"/>
                    <a:pt x="170" y="1160"/>
                  </a:cubicBezTo>
                  <a:cubicBezTo>
                    <a:pt x="393" y="1252"/>
                    <a:pt x="393" y="1252"/>
                    <a:pt x="393" y="1252"/>
                  </a:cubicBezTo>
                  <a:cubicBezTo>
                    <a:pt x="347" y="1364"/>
                    <a:pt x="347" y="1364"/>
                    <a:pt x="347" y="1364"/>
                  </a:cubicBezTo>
                  <a:cubicBezTo>
                    <a:pt x="342" y="1376"/>
                    <a:pt x="348" y="1389"/>
                    <a:pt x="360" y="1394"/>
                  </a:cubicBezTo>
                  <a:cubicBezTo>
                    <a:pt x="363" y="1396"/>
                    <a:pt x="366" y="1396"/>
                    <a:pt x="369" y="1396"/>
                  </a:cubicBezTo>
                  <a:cubicBezTo>
                    <a:pt x="378" y="1396"/>
                    <a:pt x="387" y="1391"/>
                    <a:pt x="391" y="1382"/>
                  </a:cubicBezTo>
                  <a:cubicBezTo>
                    <a:pt x="501" y="1115"/>
                    <a:pt x="501" y="1115"/>
                    <a:pt x="501" y="1115"/>
                  </a:cubicBezTo>
                  <a:cubicBezTo>
                    <a:pt x="506" y="1103"/>
                    <a:pt x="500" y="1089"/>
                    <a:pt x="488" y="1084"/>
                  </a:cubicBezTo>
                  <a:cubicBezTo>
                    <a:pt x="476" y="1079"/>
                    <a:pt x="462" y="1085"/>
                    <a:pt x="457" y="1097"/>
                  </a:cubicBezTo>
                  <a:cubicBezTo>
                    <a:pt x="411" y="1208"/>
                    <a:pt x="411" y="1208"/>
                    <a:pt x="411" y="1208"/>
                  </a:cubicBezTo>
                  <a:cubicBezTo>
                    <a:pt x="188" y="1116"/>
                    <a:pt x="188" y="1116"/>
                    <a:pt x="188" y="1116"/>
                  </a:cubicBezTo>
                  <a:cubicBezTo>
                    <a:pt x="237" y="992"/>
                    <a:pt x="263" y="859"/>
                    <a:pt x="266" y="723"/>
                  </a:cubicBezTo>
                  <a:cubicBezTo>
                    <a:pt x="508" y="723"/>
                    <a:pt x="508" y="723"/>
                    <a:pt x="508" y="723"/>
                  </a:cubicBezTo>
                  <a:cubicBezTo>
                    <a:pt x="508" y="844"/>
                    <a:pt x="508" y="844"/>
                    <a:pt x="508" y="844"/>
                  </a:cubicBezTo>
                  <a:cubicBezTo>
                    <a:pt x="508" y="857"/>
                    <a:pt x="518" y="867"/>
                    <a:pt x="531" y="867"/>
                  </a:cubicBezTo>
                  <a:cubicBezTo>
                    <a:pt x="544" y="867"/>
                    <a:pt x="555" y="857"/>
                    <a:pt x="555" y="844"/>
                  </a:cubicBezTo>
                  <a:cubicBezTo>
                    <a:pt x="555" y="555"/>
                    <a:pt x="555" y="555"/>
                    <a:pt x="555" y="555"/>
                  </a:cubicBezTo>
                  <a:cubicBezTo>
                    <a:pt x="555" y="542"/>
                    <a:pt x="544" y="532"/>
                    <a:pt x="531" y="53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135;p1">
              <a:extLst>
                <a:ext uri="{FF2B5EF4-FFF2-40B4-BE49-F238E27FC236}">
                  <a16:creationId xmlns:a16="http://schemas.microsoft.com/office/drawing/2014/main" id="{D298032D-59DF-4FC1-80FC-B315A07E87C8}"/>
                </a:ext>
              </a:extLst>
            </p:cNvPr>
            <p:cNvSpPr/>
            <p:nvPr/>
          </p:nvSpPr>
          <p:spPr>
            <a:xfrm>
              <a:off x="13836650" y="2284413"/>
              <a:ext cx="668338" cy="866775"/>
            </a:xfrm>
            <a:custGeom>
              <a:avLst/>
              <a:gdLst/>
              <a:ahLst/>
              <a:cxnLst/>
              <a:rect l="l" t="t" r="r" b="b"/>
              <a:pathLst>
                <a:path w="1193" h="1548" extrusionOk="0">
                  <a:moveTo>
                    <a:pt x="1161" y="1105"/>
                  </a:moveTo>
                  <a:cubicBezTo>
                    <a:pt x="1168" y="1102"/>
                    <a:pt x="1176" y="1098"/>
                    <a:pt x="1181" y="1093"/>
                  </a:cubicBezTo>
                  <a:cubicBezTo>
                    <a:pt x="1184" y="1090"/>
                    <a:pt x="1186" y="1087"/>
                    <a:pt x="1188" y="1085"/>
                  </a:cubicBezTo>
                  <a:cubicBezTo>
                    <a:pt x="1189" y="1085"/>
                    <a:pt x="1190" y="1084"/>
                    <a:pt x="1190" y="1082"/>
                  </a:cubicBezTo>
                  <a:cubicBezTo>
                    <a:pt x="1191" y="1082"/>
                    <a:pt x="1193" y="1077"/>
                    <a:pt x="1193" y="1077"/>
                  </a:cubicBezTo>
                  <a:cubicBezTo>
                    <a:pt x="1188" y="1077"/>
                    <a:pt x="1185" y="1079"/>
                    <a:pt x="1181" y="1079"/>
                  </a:cubicBezTo>
                  <a:cubicBezTo>
                    <a:pt x="1154" y="1077"/>
                    <a:pt x="1120" y="1068"/>
                    <a:pt x="1098" y="1060"/>
                  </a:cubicBezTo>
                  <a:cubicBezTo>
                    <a:pt x="1088" y="1057"/>
                    <a:pt x="1123" y="1042"/>
                    <a:pt x="1127" y="1038"/>
                  </a:cubicBezTo>
                  <a:cubicBezTo>
                    <a:pt x="1135" y="1032"/>
                    <a:pt x="1139" y="1026"/>
                    <a:pt x="1143" y="1019"/>
                  </a:cubicBezTo>
                  <a:cubicBezTo>
                    <a:pt x="1145" y="1015"/>
                    <a:pt x="1153" y="998"/>
                    <a:pt x="1154" y="996"/>
                  </a:cubicBezTo>
                  <a:cubicBezTo>
                    <a:pt x="1155" y="992"/>
                    <a:pt x="1159" y="984"/>
                    <a:pt x="1159" y="980"/>
                  </a:cubicBezTo>
                  <a:cubicBezTo>
                    <a:pt x="1160" y="975"/>
                    <a:pt x="1160" y="972"/>
                    <a:pt x="1158" y="972"/>
                  </a:cubicBezTo>
                  <a:cubicBezTo>
                    <a:pt x="1153" y="969"/>
                    <a:pt x="1135" y="987"/>
                    <a:pt x="1122" y="993"/>
                  </a:cubicBezTo>
                  <a:cubicBezTo>
                    <a:pt x="1113" y="999"/>
                    <a:pt x="1097" y="1005"/>
                    <a:pt x="1083" y="1009"/>
                  </a:cubicBezTo>
                  <a:cubicBezTo>
                    <a:pt x="1073" y="1012"/>
                    <a:pt x="1065" y="1019"/>
                    <a:pt x="1063" y="1020"/>
                  </a:cubicBezTo>
                  <a:cubicBezTo>
                    <a:pt x="1064" y="1009"/>
                    <a:pt x="1070" y="996"/>
                    <a:pt x="1072" y="986"/>
                  </a:cubicBezTo>
                  <a:cubicBezTo>
                    <a:pt x="1075" y="975"/>
                    <a:pt x="1075" y="965"/>
                    <a:pt x="1075" y="954"/>
                  </a:cubicBezTo>
                  <a:cubicBezTo>
                    <a:pt x="1071" y="954"/>
                    <a:pt x="1067" y="954"/>
                    <a:pt x="1063" y="955"/>
                  </a:cubicBezTo>
                  <a:cubicBezTo>
                    <a:pt x="1063" y="981"/>
                    <a:pt x="1059" y="1015"/>
                    <a:pt x="1044" y="1032"/>
                  </a:cubicBezTo>
                  <a:cubicBezTo>
                    <a:pt x="1042" y="1035"/>
                    <a:pt x="1039" y="1041"/>
                    <a:pt x="1041" y="1043"/>
                  </a:cubicBezTo>
                  <a:cubicBezTo>
                    <a:pt x="1041" y="1044"/>
                    <a:pt x="1044" y="1043"/>
                    <a:pt x="1048" y="1040"/>
                  </a:cubicBezTo>
                  <a:cubicBezTo>
                    <a:pt x="1063" y="1028"/>
                    <a:pt x="1088" y="1015"/>
                    <a:pt x="1120" y="1008"/>
                  </a:cubicBezTo>
                  <a:cubicBezTo>
                    <a:pt x="1124" y="1007"/>
                    <a:pt x="1131" y="1003"/>
                    <a:pt x="1136" y="999"/>
                  </a:cubicBezTo>
                  <a:cubicBezTo>
                    <a:pt x="1136" y="999"/>
                    <a:pt x="1147" y="988"/>
                    <a:pt x="1144" y="994"/>
                  </a:cubicBezTo>
                  <a:cubicBezTo>
                    <a:pt x="1134" y="1019"/>
                    <a:pt x="1124" y="1034"/>
                    <a:pt x="1096" y="1046"/>
                  </a:cubicBezTo>
                  <a:cubicBezTo>
                    <a:pt x="1085" y="1050"/>
                    <a:pt x="1070" y="1054"/>
                    <a:pt x="1058" y="1057"/>
                  </a:cubicBezTo>
                  <a:cubicBezTo>
                    <a:pt x="1040" y="1061"/>
                    <a:pt x="1042" y="1064"/>
                    <a:pt x="1050" y="1065"/>
                  </a:cubicBezTo>
                  <a:cubicBezTo>
                    <a:pt x="1059" y="1066"/>
                    <a:pt x="1076" y="1065"/>
                    <a:pt x="1081" y="1066"/>
                  </a:cubicBezTo>
                  <a:cubicBezTo>
                    <a:pt x="1096" y="1071"/>
                    <a:pt x="1135" y="1084"/>
                    <a:pt x="1152" y="1087"/>
                  </a:cubicBezTo>
                  <a:cubicBezTo>
                    <a:pt x="1160" y="1088"/>
                    <a:pt x="1166" y="1087"/>
                    <a:pt x="1167" y="1088"/>
                  </a:cubicBezTo>
                  <a:cubicBezTo>
                    <a:pt x="1168" y="1091"/>
                    <a:pt x="1150" y="1099"/>
                    <a:pt x="1143" y="1101"/>
                  </a:cubicBezTo>
                  <a:cubicBezTo>
                    <a:pt x="1120" y="1109"/>
                    <a:pt x="1093" y="1113"/>
                    <a:pt x="1070" y="1108"/>
                  </a:cubicBezTo>
                  <a:cubicBezTo>
                    <a:pt x="1056" y="1105"/>
                    <a:pt x="1044" y="1097"/>
                    <a:pt x="1037" y="1093"/>
                  </a:cubicBezTo>
                  <a:cubicBezTo>
                    <a:pt x="1030" y="1087"/>
                    <a:pt x="1028" y="1077"/>
                    <a:pt x="1022" y="1071"/>
                  </a:cubicBezTo>
                  <a:cubicBezTo>
                    <a:pt x="1020" y="1068"/>
                    <a:pt x="1016" y="1073"/>
                    <a:pt x="1017" y="1073"/>
                  </a:cubicBezTo>
                  <a:cubicBezTo>
                    <a:pt x="1020" y="1080"/>
                    <a:pt x="1023" y="1089"/>
                    <a:pt x="1027" y="1095"/>
                  </a:cubicBezTo>
                  <a:cubicBezTo>
                    <a:pt x="1033" y="1104"/>
                    <a:pt x="1041" y="1121"/>
                    <a:pt x="1041" y="1135"/>
                  </a:cubicBezTo>
                  <a:cubicBezTo>
                    <a:pt x="1041" y="1143"/>
                    <a:pt x="1041" y="1152"/>
                    <a:pt x="1041" y="1161"/>
                  </a:cubicBezTo>
                  <a:cubicBezTo>
                    <a:pt x="1040" y="1168"/>
                    <a:pt x="1037" y="1178"/>
                    <a:pt x="1036" y="1180"/>
                  </a:cubicBezTo>
                  <a:cubicBezTo>
                    <a:pt x="1034" y="1184"/>
                    <a:pt x="1027" y="1202"/>
                    <a:pt x="1024" y="1206"/>
                  </a:cubicBezTo>
                  <a:cubicBezTo>
                    <a:pt x="1024" y="1206"/>
                    <a:pt x="1019" y="1214"/>
                    <a:pt x="1016" y="1216"/>
                  </a:cubicBezTo>
                  <a:cubicBezTo>
                    <a:pt x="1016" y="1197"/>
                    <a:pt x="1017" y="1170"/>
                    <a:pt x="1009" y="1154"/>
                  </a:cubicBezTo>
                  <a:cubicBezTo>
                    <a:pt x="1000" y="1136"/>
                    <a:pt x="992" y="1124"/>
                    <a:pt x="977" y="1103"/>
                  </a:cubicBezTo>
                  <a:cubicBezTo>
                    <a:pt x="965" y="1088"/>
                    <a:pt x="924" y="1054"/>
                    <a:pt x="914" y="1046"/>
                  </a:cubicBezTo>
                  <a:cubicBezTo>
                    <a:pt x="899" y="1034"/>
                    <a:pt x="876" y="1011"/>
                    <a:pt x="861" y="996"/>
                  </a:cubicBezTo>
                  <a:cubicBezTo>
                    <a:pt x="852" y="986"/>
                    <a:pt x="825" y="945"/>
                    <a:pt x="821" y="932"/>
                  </a:cubicBezTo>
                  <a:cubicBezTo>
                    <a:pt x="814" y="914"/>
                    <a:pt x="802" y="876"/>
                    <a:pt x="798" y="874"/>
                  </a:cubicBezTo>
                  <a:cubicBezTo>
                    <a:pt x="797" y="874"/>
                    <a:pt x="795" y="874"/>
                    <a:pt x="794" y="875"/>
                  </a:cubicBezTo>
                  <a:cubicBezTo>
                    <a:pt x="793" y="875"/>
                    <a:pt x="793" y="877"/>
                    <a:pt x="793" y="878"/>
                  </a:cubicBezTo>
                  <a:cubicBezTo>
                    <a:pt x="797" y="895"/>
                    <a:pt x="803" y="911"/>
                    <a:pt x="809" y="929"/>
                  </a:cubicBezTo>
                  <a:cubicBezTo>
                    <a:pt x="810" y="931"/>
                    <a:pt x="811" y="933"/>
                    <a:pt x="812" y="935"/>
                  </a:cubicBezTo>
                  <a:cubicBezTo>
                    <a:pt x="816" y="966"/>
                    <a:pt x="821" y="1005"/>
                    <a:pt x="820" y="1036"/>
                  </a:cubicBezTo>
                  <a:cubicBezTo>
                    <a:pt x="820" y="1052"/>
                    <a:pt x="819" y="1066"/>
                    <a:pt x="819" y="1081"/>
                  </a:cubicBezTo>
                  <a:cubicBezTo>
                    <a:pt x="819" y="1090"/>
                    <a:pt x="818" y="1098"/>
                    <a:pt x="817" y="1106"/>
                  </a:cubicBezTo>
                  <a:cubicBezTo>
                    <a:pt x="817" y="1108"/>
                    <a:pt x="815" y="1121"/>
                    <a:pt x="815" y="1125"/>
                  </a:cubicBezTo>
                  <a:cubicBezTo>
                    <a:pt x="816" y="1127"/>
                    <a:pt x="828" y="1135"/>
                    <a:pt x="829" y="1136"/>
                  </a:cubicBezTo>
                  <a:cubicBezTo>
                    <a:pt x="832" y="1139"/>
                    <a:pt x="845" y="1148"/>
                    <a:pt x="848" y="1151"/>
                  </a:cubicBezTo>
                  <a:cubicBezTo>
                    <a:pt x="868" y="1171"/>
                    <a:pt x="868" y="1171"/>
                    <a:pt x="868" y="1171"/>
                  </a:cubicBezTo>
                  <a:cubicBezTo>
                    <a:pt x="880" y="1182"/>
                    <a:pt x="893" y="1193"/>
                    <a:pt x="910" y="1195"/>
                  </a:cubicBezTo>
                  <a:cubicBezTo>
                    <a:pt x="921" y="1195"/>
                    <a:pt x="929" y="1195"/>
                    <a:pt x="937" y="1193"/>
                  </a:cubicBezTo>
                  <a:cubicBezTo>
                    <a:pt x="938" y="1193"/>
                    <a:pt x="934" y="1201"/>
                    <a:pt x="933" y="1203"/>
                  </a:cubicBezTo>
                  <a:cubicBezTo>
                    <a:pt x="931" y="1204"/>
                    <a:pt x="930" y="1206"/>
                    <a:pt x="929" y="1207"/>
                  </a:cubicBezTo>
                  <a:cubicBezTo>
                    <a:pt x="925" y="1210"/>
                    <a:pt x="922" y="1212"/>
                    <a:pt x="917" y="1213"/>
                  </a:cubicBezTo>
                  <a:cubicBezTo>
                    <a:pt x="908" y="1215"/>
                    <a:pt x="899" y="1216"/>
                    <a:pt x="889" y="1216"/>
                  </a:cubicBezTo>
                  <a:cubicBezTo>
                    <a:pt x="888" y="1216"/>
                    <a:pt x="879" y="1216"/>
                    <a:pt x="877" y="1217"/>
                  </a:cubicBezTo>
                  <a:cubicBezTo>
                    <a:pt x="875" y="1218"/>
                    <a:pt x="877" y="1219"/>
                    <a:pt x="877" y="1221"/>
                  </a:cubicBezTo>
                  <a:cubicBezTo>
                    <a:pt x="879" y="1225"/>
                    <a:pt x="899" y="1223"/>
                    <a:pt x="906" y="1223"/>
                  </a:cubicBezTo>
                  <a:cubicBezTo>
                    <a:pt x="912" y="1222"/>
                    <a:pt x="915" y="1221"/>
                    <a:pt x="919" y="1221"/>
                  </a:cubicBezTo>
                  <a:cubicBezTo>
                    <a:pt x="919" y="1235"/>
                    <a:pt x="891" y="1244"/>
                    <a:pt x="879" y="1246"/>
                  </a:cubicBezTo>
                  <a:cubicBezTo>
                    <a:pt x="872" y="1247"/>
                    <a:pt x="863" y="1247"/>
                    <a:pt x="860" y="1251"/>
                  </a:cubicBezTo>
                  <a:cubicBezTo>
                    <a:pt x="860" y="1255"/>
                    <a:pt x="882" y="1254"/>
                    <a:pt x="892" y="1255"/>
                  </a:cubicBezTo>
                  <a:cubicBezTo>
                    <a:pt x="896" y="1255"/>
                    <a:pt x="924" y="1252"/>
                    <a:pt x="922" y="1256"/>
                  </a:cubicBezTo>
                  <a:cubicBezTo>
                    <a:pt x="920" y="1259"/>
                    <a:pt x="916" y="1262"/>
                    <a:pt x="913" y="1264"/>
                  </a:cubicBezTo>
                  <a:cubicBezTo>
                    <a:pt x="906" y="1267"/>
                    <a:pt x="898" y="1269"/>
                    <a:pt x="891" y="1270"/>
                  </a:cubicBezTo>
                  <a:cubicBezTo>
                    <a:pt x="881" y="1272"/>
                    <a:pt x="871" y="1272"/>
                    <a:pt x="862" y="1272"/>
                  </a:cubicBezTo>
                  <a:cubicBezTo>
                    <a:pt x="858" y="1272"/>
                    <a:pt x="856" y="1276"/>
                    <a:pt x="861" y="1276"/>
                  </a:cubicBezTo>
                  <a:cubicBezTo>
                    <a:pt x="866" y="1277"/>
                    <a:pt x="871" y="1277"/>
                    <a:pt x="876" y="1278"/>
                  </a:cubicBezTo>
                  <a:cubicBezTo>
                    <a:pt x="883" y="1279"/>
                    <a:pt x="900" y="1277"/>
                    <a:pt x="898" y="1280"/>
                  </a:cubicBezTo>
                  <a:cubicBezTo>
                    <a:pt x="897" y="1283"/>
                    <a:pt x="893" y="1288"/>
                    <a:pt x="889" y="1290"/>
                  </a:cubicBezTo>
                  <a:cubicBezTo>
                    <a:pt x="883" y="1293"/>
                    <a:pt x="868" y="1296"/>
                    <a:pt x="862" y="1297"/>
                  </a:cubicBezTo>
                  <a:cubicBezTo>
                    <a:pt x="846" y="1298"/>
                    <a:pt x="842" y="1298"/>
                    <a:pt x="843" y="1302"/>
                  </a:cubicBezTo>
                  <a:cubicBezTo>
                    <a:pt x="843" y="1302"/>
                    <a:pt x="845" y="1302"/>
                    <a:pt x="846" y="1303"/>
                  </a:cubicBezTo>
                  <a:cubicBezTo>
                    <a:pt x="862" y="1305"/>
                    <a:pt x="869" y="1308"/>
                    <a:pt x="882" y="1313"/>
                  </a:cubicBezTo>
                  <a:cubicBezTo>
                    <a:pt x="883" y="1314"/>
                    <a:pt x="885" y="1314"/>
                    <a:pt x="887" y="1314"/>
                  </a:cubicBezTo>
                  <a:cubicBezTo>
                    <a:pt x="891" y="1314"/>
                    <a:pt x="896" y="1315"/>
                    <a:pt x="899" y="1316"/>
                  </a:cubicBezTo>
                  <a:cubicBezTo>
                    <a:pt x="898" y="1322"/>
                    <a:pt x="862" y="1329"/>
                    <a:pt x="856" y="1329"/>
                  </a:cubicBezTo>
                  <a:cubicBezTo>
                    <a:pt x="850" y="1329"/>
                    <a:pt x="827" y="1326"/>
                    <a:pt x="827" y="1331"/>
                  </a:cubicBezTo>
                  <a:cubicBezTo>
                    <a:pt x="828" y="1343"/>
                    <a:pt x="863" y="1336"/>
                    <a:pt x="868" y="1348"/>
                  </a:cubicBezTo>
                  <a:cubicBezTo>
                    <a:pt x="862" y="1347"/>
                    <a:pt x="844" y="1359"/>
                    <a:pt x="836" y="1357"/>
                  </a:cubicBezTo>
                  <a:cubicBezTo>
                    <a:pt x="833" y="1357"/>
                    <a:pt x="828" y="1355"/>
                    <a:pt x="824" y="1355"/>
                  </a:cubicBezTo>
                  <a:cubicBezTo>
                    <a:pt x="821" y="1355"/>
                    <a:pt x="821" y="1355"/>
                    <a:pt x="821" y="1361"/>
                  </a:cubicBezTo>
                  <a:cubicBezTo>
                    <a:pt x="821" y="1364"/>
                    <a:pt x="821" y="1364"/>
                    <a:pt x="824" y="1364"/>
                  </a:cubicBezTo>
                  <a:cubicBezTo>
                    <a:pt x="832" y="1365"/>
                    <a:pt x="838" y="1366"/>
                    <a:pt x="840" y="1374"/>
                  </a:cubicBezTo>
                  <a:cubicBezTo>
                    <a:pt x="838" y="1373"/>
                    <a:pt x="835" y="1373"/>
                    <a:pt x="833" y="1373"/>
                  </a:cubicBezTo>
                  <a:cubicBezTo>
                    <a:pt x="827" y="1373"/>
                    <a:pt x="821" y="1378"/>
                    <a:pt x="818" y="1382"/>
                  </a:cubicBezTo>
                  <a:cubicBezTo>
                    <a:pt x="816" y="1385"/>
                    <a:pt x="816" y="1388"/>
                    <a:pt x="815" y="1390"/>
                  </a:cubicBezTo>
                  <a:cubicBezTo>
                    <a:pt x="815" y="1391"/>
                    <a:pt x="815" y="1392"/>
                    <a:pt x="815" y="1393"/>
                  </a:cubicBezTo>
                  <a:cubicBezTo>
                    <a:pt x="815" y="1398"/>
                    <a:pt x="817" y="1402"/>
                    <a:pt x="818" y="1405"/>
                  </a:cubicBezTo>
                  <a:cubicBezTo>
                    <a:pt x="820" y="1408"/>
                    <a:pt x="824" y="1409"/>
                    <a:pt x="826" y="1410"/>
                  </a:cubicBezTo>
                  <a:cubicBezTo>
                    <a:pt x="827" y="1410"/>
                    <a:pt x="828" y="1411"/>
                    <a:pt x="829" y="1411"/>
                  </a:cubicBezTo>
                  <a:cubicBezTo>
                    <a:pt x="830" y="1412"/>
                    <a:pt x="831" y="1413"/>
                    <a:pt x="832" y="1413"/>
                  </a:cubicBezTo>
                  <a:cubicBezTo>
                    <a:pt x="825" y="1418"/>
                    <a:pt x="812" y="1419"/>
                    <a:pt x="805" y="1416"/>
                  </a:cubicBezTo>
                  <a:cubicBezTo>
                    <a:pt x="800" y="1414"/>
                    <a:pt x="782" y="1396"/>
                    <a:pt x="783" y="1409"/>
                  </a:cubicBezTo>
                  <a:cubicBezTo>
                    <a:pt x="783" y="1411"/>
                    <a:pt x="785" y="1413"/>
                    <a:pt x="787" y="1415"/>
                  </a:cubicBezTo>
                  <a:cubicBezTo>
                    <a:pt x="785" y="1419"/>
                    <a:pt x="782" y="1422"/>
                    <a:pt x="779" y="1424"/>
                  </a:cubicBezTo>
                  <a:cubicBezTo>
                    <a:pt x="775" y="1428"/>
                    <a:pt x="771" y="1429"/>
                    <a:pt x="767" y="1431"/>
                  </a:cubicBezTo>
                  <a:cubicBezTo>
                    <a:pt x="766" y="1431"/>
                    <a:pt x="766" y="1430"/>
                    <a:pt x="766" y="1430"/>
                  </a:cubicBezTo>
                  <a:cubicBezTo>
                    <a:pt x="758" y="1441"/>
                    <a:pt x="769" y="1438"/>
                    <a:pt x="774" y="1440"/>
                  </a:cubicBezTo>
                  <a:cubicBezTo>
                    <a:pt x="786" y="1446"/>
                    <a:pt x="785" y="1456"/>
                    <a:pt x="783" y="1468"/>
                  </a:cubicBezTo>
                  <a:cubicBezTo>
                    <a:pt x="782" y="1483"/>
                    <a:pt x="771" y="1497"/>
                    <a:pt x="755" y="1499"/>
                  </a:cubicBezTo>
                  <a:cubicBezTo>
                    <a:pt x="755" y="1499"/>
                    <a:pt x="755" y="1499"/>
                    <a:pt x="755" y="1499"/>
                  </a:cubicBezTo>
                  <a:cubicBezTo>
                    <a:pt x="756" y="1491"/>
                    <a:pt x="751" y="1483"/>
                    <a:pt x="743" y="1478"/>
                  </a:cubicBezTo>
                  <a:cubicBezTo>
                    <a:pt x="736" y="1474"/>
                    <a:pt x="728" y="1473"/>
                    <a:pt x="722" y="1477"/>
                  </a:cubicBezTo>
                  <a:cubicBezTo>
                    <a:pt x="715" y="1481"/>
                    <a:pt x="710" y="1487"/>
                    <a:pt x="709" y="1494"/>
                  </a:cubicBezTo>
                  <a:cubicBezTo>
                    <a:pt x="709" y="1496"/>
                    <a:pt x="709" y="1497"/>
                    <a:pt x="709" y="1498"/>
                  </a:cubicBezTo>
                  <a:cubicBezTo>
                    <a:pt x="695" y="1493"/>
                    <a:pt x="696" y="1469"/>
                    <a:pt x="705" y="1459"/>
                  </a:cubicBezTo>
                  <a:cubicBezTo>
                    <a:pt x="706" y="1458"/>
                    <a:pt x="707" y="1456"/>
                    <a:pt x="708" y="1454"/>
                  </a:cubicBezTo>
                  <a:cubicBezTo>
                    <a:pt x="709" y="1453"/>
                    <a:pt x="710" y="1453"/>
                    <a:pt x="711" y="1452"/>
                  </a:cubicBezTo>
                  <a:cubicBezTo>
                    <a:pt x="712" y="1452"/>
                    <a:pt x="712" y="1452"/>
                    <a:pt x="712" y="1452"/>
                  </a:cubicBezTo>
                  <a:cubicBezTo>
                    <a:pt x="712" y="1452"/>
                    <a:pt x="713" y="1452"/>
                    <a:pt x="713" y="1452"/>
                  </a:cubicBezTo>
                  <a:cubicBezTo>
                    <a:pt x="714" y="1451"/>
                    <a:pt x="715" y="1451"/>
                    <a:pt x="715" y="1451"/>
                  </a:cubicBezTo>
                  <a:cubicBezTo>
                    <a:pt x="716" y="1451"/>
                    <a:pt x="718" y="1451"/>
                    <a:pt x="718" y="1450"/>
                  </a:cubicBezTo>
                  <a:cubicBezTo>
                    <a:pt x="718" y="1450"/>
                    <a:pt x="718" y="1448"/>
                    <a:pt x="717" y="1448"/>
                  </a:cubicBezTo>
                  <a:cubicBezTo>
                    <a:pt x="716" y="1448"/>
                    <a:pt x="715" y="1449"/>
                    <a:pt x="713" y="1449"/>
                  </a:cubicBezTo>
                  <a:cubicBezTo>
                    <a:pt x="712" y="1450"/>
                    <a:pt x="710" y="1450"/>
                    <a:pt x="709" y="1450"/>
                  </a:cubicBezTo>
                  <a:cubicBezTo>
                    <a:pt x="710" y="1448"/>
                    <a:pt x="710" y="1447"/>
                    <a:pt x="710" y="1445"/>
                  </a:cubicBezTo>
                  <a:cubicBezTo>
                    <a:pt x="712" y="1440"/>
                    <a:pt x="714" y="1426"/>
                    <a:pt x="715" y="1424"/>
                  </a:cubicBezTo>
                  <a:cubicBezTo>
                    <a:pt x="715" y="1421"/>
                    <a:pt x="715" y="1411"/>
                    <a:pt x="716" y="1409"/>
                  </a:cubicBezTo>
                  <a:cubicBezTo>
                    <a:pt x="716" y="1403"/>
                    <a:pt x="716" y="1396"/>
                    <a:pt x="713" y="1394"/>
                  </a:cubicBezTo>
                  <a:cubicBezTo>
                    <a:pt x="705" y="1389"/>
                    <a:pt x="706" y="1410"/>
                    <a:pt x="706" y="1416"/>
                  </a:cubicBezTo>
                  <a:cubicBezTo>
                    <a:pt x="703" y="1445"/>
                    <a:pt x="689" y="1454"/>
                    <a:pt x="688" y="1473"/>
                  </a:cubicBezTo>
                  <a:cubicBezTo>
                    <a:pt x="688" y="1473"/>
                    <a:pt x="688" y="1474"/>
                    <a:pt x="688" y="1474"/>
                  </a:cubicBezTo>
                  <a:cubicBezTo>
                    <a:pt x="686" y="1472"/>
                    <a:pt x="685" y="1471"/>
                    <a:pt x="684" y="1471"/>
                  </a:cubicBezTo>
                  <a:cubicBezTo>
                    <a:pt x="683" y="1470"/>
                    <a:pt x="682" y="1469"/>
                    <a:pt x="681" y="1469"/>
                  </a:cubicBezTo>
                  <a:cubicBezTo>
                    <a:pt x="680" y="1468"/>
                    <a:pt x="676" y="1469"/>
                    <a:pt x="676" y="1470"/>
                  </a:cubicBezTo>
                  <a:cubicBezTo>
                    <a:pt x="674" y="1473"/>
                    <a:pt x="679" y="1475"/>
                    <a:pt x="681" y="1477"/>
                  </a:cubicBezTo>
                  <a:cubicBezTo>
                    <a:pt x="682" y="1478"/>
                    <a:pt x="684" y="1480"/>
                    <a:pt x="685" y="1481"/>
                  </a:cubicBezTo>
                  <a:cubicBezTo>
                    <a:pt x="686" y="1482"/>
                    <a:pt x="686" y="1484"/>
                    <a:pt x="687" y="1485"/>
                  </a:cubicBezTo>
                  <a:cubicBezTo>
                    <a:pt x="687" y="1492"/>
                    <a:pt x="686" y="1499"/>
                    <a:pt x="679" y="1506"/>
                  </a:cubicBezTo>
                  <a:cubicBezTo>
                    <a:pt x="663" y="1523"/>
                    <a:pt x="647" y="1521"/>
                    <a:pt x="635" y="1515"/>
                  </a:cubicBezTo>
                  <a:cubicBezTo>
                    <a:pt x="645" y="1506"/>
                    <a:pt x="648" y="1496"/>
                    <a:pt x="641" y="1486"/>
                  </a:cubicBezTo>
                  <a:cubicBezTo>
                    <a:pt x="636" y="1479"/>
                    <a:pt x="629" y="1475"/>
                    <a:pt x="622" y="1476"/>
                  </a:cubicBezTo>
                  <a:cubicBezTo>
                    <a:pt x="616" y="1476"/>
                    <a:pt x="609" y="1480"/>
                    <a:pt x="604" y="1486"/>
                  </a:cubicBezTo>
                  <a:cubicBezTo>
                    <a:pt x="600" y="1481"/>
                    <a:pt x="601" y="1465"/>
                    <a:pt x="605" y="1461"/>
                  </a:cubicBezTo>
                  <a:cubicBezTo>
                    <a:pt x="612" y="1452"/>
                    <a:pt x="614" y="1447"/>
                    <a:pt x="626" y="1443"/>
                  </a:cubicBezTo>
                  <a:cubicBezTo>
                    <a:pt x="628" y="1442"/>
                    <a:pt x="630" y="1441"/>
                    <a:pt x="632" y="1440"/>
                  </a:cubicBezTo>
                  <a:cubicBezTo>
                    <a:pt x="634" y="1439"/>
                    <a:pt x="635" y="1439"/>
                    <a:pt x="637" y="1439"/>
                  </a:cubicBezTo>
                  <a:cubicBezTo>
                    <a:pt x="638" y="1439"/>
                    <a:pt x="640" y="1439"/>
                    <a:pt x="641" y="1439"/>
                  </a:cubicBezTo>
                  <a:cubicBezTo>
                    <a:pt x="642" y="1440"/>
                    <a:pt x="646" y="1441"/>
                    <a:pt x="647" y="1441"/>
                  </a:cubicBezTo>
                  <a:cubicBezTo>
                    <a:pt x="649" y="1441"/>
                    <a:pt x="650" y="1442"/>
                    <a:pt x="650" y="1440"/>
                  </a:cubicBezTo>
                  <a:cubicBezTo>
                    <a:pt x="650" y="1437"/>
                    <a:pt x="646" y="1434"/>
                    <a:pt x="643" y="1433"/>
                  </a:cubicBezTo>
                  <a:cubicBezTo>
                    <a:pt x="656" y="1423"/>
                    <a:pt x="666" y="1408"/>
                    <a:pt x="675" y="1394"/>
                  </a:cubicBezTo>
                  <a:cubicBezTo>
                    <a:pt x="677" y="1390"/>
                    <a:pt x="675" y="1379"/>
                    <a:pt x="670" y="1385"/>
                  </a:cubicBezTo>
                  <a:cubicBezTo>
                    <a:pt x="662" y="1393"/>
                    <a:pt x="656" y="1405"/>
                    <a:pt x="648" y="1414"/>
                  </a:cubicBezTo>
                  <a:cubicBezTo>
                    <a:pt x="648" y="1413"/>
                    <a:pt x="648" y="1412"/>
                    <a:pt x="647" y="1411"/>
                  </a:cubicBezTo>
                  <a:cubicBezTo>
                    <a:pt x="645" y="1410"/>
                    <a:pt x="642" y="1413"/>
                    <a:pt x="641" y="1414"/>
                  </a:cubicBezTo>
                  <a:cubicBezTo>
                    <a:pt x="639" y="1416"/>
                    <a:pt x="638" y="1421"/>
                    <a:pt x="636" y="1425"/>
                  </a:cubicBezTo>
                  <a:cubicBezTo>
                    <a:pt x="622" y="1435"/>
                    <a:pt x="597" y="1448"/>
                    <a:pt x="602" y="1420"/>
                  </a:cubicBezTo>
                  <a:cubicBezTo>
                    <a:pt x="611" y="1419"/>
                    <a:pt x="620" y="1411"/>
                    <a:pt x="624" y="1403"/>
                  </a:cubicBezTo>
                  <a:cubicBezTo>
                    <a:pt x="627" y="1395"/>
                    <a:pt x="626" y="1388"/>
                    <a:pt x="620" y="1384"/>
                  </a:cubicBezTo>
                  <a:cubicBezTo>
                    <a:pt x="619" y="1383"/>
                    <a:pt x="619" y="1383"/>
                    <a:pt x="618" y="1383"/>
                  </a:cubicBezTo>
                  <a:cubicBezTo>
                    <a:pt x="624" y="1374"/>
                    <a:pt x="634" y="1373"/>
                    <a:pt x="645" y="1373"/>
                  </a:cubicBezTo>
                  <a:cubicBezTo>
                    <a:pt x="647" y="1374"/>
                    <a:pt x="648" y="1375"/>
                    <a:pt x="649" y="1377"/>
                  </a:cubicBezTo>
                  <a:cubicBezTo>
                    <a:pt x="651" y="1379"/>
                    <a:pt x="652" y="1379"/>
                    <a:pt x="655" y="1379"/>
                  </a:cubicBezTo>
                  <a:cubicBezTo>
                    <a:pt x="656" y="1379"/>
                    <a:pt x="657" y="1378"/>
                    <a:pt x="657" y="1377"/>
                  </a:cubicBezTo>
                  <a:cubicBezTo>
                    <a:pt x="657" y="1376"/>
                    <a:pt x="655" y="1375"/>
                    <a:pt x="654" y="1373"/>
                  </a:cubicBezTo>
                  <a:cubicBezTo>
                    <a:pt x="654" y="1373"/>
                    <a:pt x="653" y="1373"/>
                    <a:pt x="653" y="1373"/>
                  </a:cubicBezTo>
                  <a:cubicBezTo>
                    <a:pt x="661" y="1373"/>
                    <a:pt x="669" y="1373"/>
                    <a:pt x="675" y="1370"/>
                  </a:cubicBezTo>
                  <a:cubicBezTo>
                    <a:pt x="698" y="1360"/>
                    <a:pt x="732" y="1306"/>
                    <a:pt x="745" y="1286"/>
                  </a:cubicBezTo>
                  <a:cubicBezTo>
                    <a:pt x="747" y="1283"/>
                    <a:pt x="751" y="1275"/>
                    <a:pt x="751" y="1265"/>
                  </a:cubicBezTo>
                  <a:cubicBezTo>
                    <a:pt x="752" y="1260"/>
                    <a:pt x="749" y="1256"/>
                    <a:pt x="748" y="1252"/>
                  </a:cubicBezTo>
                  <a:cubicBezTo>
                    <a:pt x="746" y="1247"/>
                    <a:pt x="735" y="1235"/>
                    <a:pt x="724" y="1222"/>
                  </a:cubicBezTo>
                  <a:cubicBezTo>
                    <a:pt x="716" y="1213"/>
                    <a:pt x="710" y="1205"/>
                    <a:pt x="705" y="1198"/>
                  </a:cubicBezTo>
                  <a:cubicBezTo>
                    <a:pt x="710" y="1182"/>
                    <a:pt x="714" y="1165"/>
                    <a:pt x="714" y="1153"/>
                  </a:cubicBezTo>
                  <a:cubicBezTo>
                    <a:pt x="713" y="1147"/>
                    <a:pt x="710" y="1148"/>
                    <a:pt x="708" y="1151"/>
                  </a:cubicBezTo>
                  <a:cubicBezTo>
                    <a:pt x="706" y="1154"/>
                    <a:pt x="705" y="1158"/>
                    <a:pt x="704" y="1160"/>
                  </a:cubicBezTo>
                  <a:cubicBezTo>
                    <a:pt x="698" y="1185"/>
                    <a:pt x="688" y="1223"/>
                    <a:pt x="673" y="1242"/>
                  </a:cubicBezTo>
                  <a:cubicBezTo>
                    <a:pt x="661" y="1256"/>
                    <a:pt x="642" y="1279"/>
                    <a:pt x="642" y="1313"/>
                  </a:cubicBezTo>
                  <a:cubicBezTo>
                    <a:pt x="640" y="1311"/>
                    <a:pt x="631" y="1297"/>
                    <a:pt x="630" y="1292"/>
                  </a:cubicBezTo>
                  <a:cubicBezTo>
                    <a:pt x="629" y="1287"/>
                    <a:pt x="628" y="1283"/>
                    <a:pt x="627" y="1279"/>
                  </a:cubicBezTo>
                  <a:cubicBezTo>
                    <a:pt x="628" y="1277"/>
                    <a:pt x="629" y="1274"/>
                    <a:pt x="632" y="1267"/>
                  </a:cubicBezTo>
                  <a:cubicBezTo>
                    <a:pt x="634" y="1262"/>
                    <a:pt x="636" y="1256"/>
                    <a:pt x="637" y="1255"/>
                  </a:cubicBezTo>
                  <a:cubicBezTo>
                    <a:pt x="638" y="1253"/>
                    <a:pt x="639" y="1250"/>
                    <a:pt x="641" y="1248"/>
                  </a:cubicBezTo>
                  <a:cubicBezTo>
                    <a:pt x="643" y="1244"/>
                    <a:pt x="645" y="1241"/>
                    <a:pt x="646" y="1237"/>
                  </a:cubicBezTo>
                  <a:cubicBezTo>
                    <a:pt x="650" y="1227"/>
                    <a:pt x="659" y="1212"/>
                    <a:pt x="662" y="1208"/>
                  </a:cubicBezTo>
                  <a:cubicBezTo>
                    <a:pt x="663" y="1207"/>
                    <a:pt x="663" y="1205"/>
                    <a:pt x="662" y="1205"/>
                  </a:cubicBezTo>
                  <a:cubicBezTo>
                    <a:pt x="661" y="1204"/>
                    <a:pt x="659" y="1204"/>
                    <a:pt x="659" y="1205"/>
                  </a:cubicBezTo>
                  <a:cubicBezTo>
                    <a:pt x="655" y="1211"/>
                    <a:pt x="646" y="1225"/>
                    <a:pt x="642" y="1235"/>
                  </a:cubicBezTo>
                  <a:cubicBezTo>
                    <a:pt x="641" y="1239"/>
                    <a:pt x="639" y="1242"/>
                    <a:pt x="637" y="1246"/>
                  </a:cubicBezTo>
                  <a:cubicBezTo>
                    <a:pt x="635" y="1248"/>
                    <a:pt x="634" y="1251"/>
                    <a:pt x="633" y="1253"/>
                  </a:cubicBezTo>
                  <a:cubicBezTo>
                    <a:pt x="632" y="1254"/>
                    <a:pt x="631" y="1259"/>
                    <a:pt x="628" y="1265"/>
                  </a:cubicBezTo>
                  <a:cubicBezTo>
                    <a:pt x="627" y="1267"/>
                    <a:pt x="627" y="1268"/>
                    <a:pt x="626" y="1270"/>
                  </a:cubicBezTo>
                  <a:cubicBezTo>
                    <a:pt x="626" y="1268"/>
                    <a:pt x="626" y="1266"/>
                    <a:pt x="626" y="1264"/>
                  </a:cubicBezTo>
                  <a:cubicBezTo>
                    <a:pt x="624" y="1241"/>
                    <a:pt x="632" y="1209"/>
                    <a:pt x="646" y="1194"/>
                  </a:cubicBezTo>
                  <a:cubicBezTo>
                    <a:pt x="647" y="1192"/>
                    <a:pt x="659" y="1179"/>
                    <a:pt x="653" y="1178"/>
                  </a:cubicBezTo>
                  <a:cubicBezTo>
                    <a:pt x="632" y="1203"/>
                    <a:pt x="599" y="1201"/>
                    <a:pt x="585" y="1172"/>
                  </a:cubicBezTo>
                  <a:cubicBezTo>
                    <a:pt x="606" y="1180"/>
                    <a:pt x="621" y="1170"/>
                    <a:pt x="622" y="1169"/>
                  </a:cubicBezTo>
                  <a:cubicBezTo>
                    <a:pt x="633" y="1164"/>
                    <a:pt x="638" y="1160"/>
                    <a:pt x="647" y="1150"/>
                  </a:cubicBezTo>
                  <a:cubicBezTo>
                    <a:pt x="654" y="1141"/>
                    <a:pt x="665" y="1095"/>
                    <a:pt x="667" y="1080"/>
                  </a:cubicBezTo>
                  <a:cubicBezTo>
                    <a:pt x="673" y="1032"/>
                    <a:pt x="690" y="989"/>
                    <a:pt x="702" y="945"/>
                  </a:cubicBezTo>
                  <a:cubicBezTo>
                    <a:pt x="706" y="930"/>
                    <a:pt x="724" y="829"/>
                    <a:pt x="699" y="833"/>
                  </a:cubicBezTo>
                  <a:cubicBezTo>
                    <a:pt x="699" y="852"/>
                    <a:pt x="701" y="871"/>
                    <a:pt x="699" y="891"/>
                  </a:cubicBezTo>
                  <a:cubicBezTo>
                    <a:pt x="696" y="915"/>
                    <a:pt x="687" y="952"/>
                    <a:pt x="679" y="979"/>
                  </a:cubicBezTo>
                  <a:cubicBezTo>
                    <a:pt x="674" y="976"/>
                    <a:pt x="668" y="973"/>
                    <a:pt x="665" y="967"/>
                  </a:cubicBezTo>
                  <a:cubicBezTo>
                    <a:pt x="651" y="940"/>
                    <a:pt x="669" y="933"/>
                    <a:pt x="669" y="912"/>
                  </a:cubicBezTo>
                  <a:cubicBezTo>
                    <a:pt x="668" y="889"/>
                    <a:pt x="629" y="851"/>
                    <a:pt x="623" y="851"/>
                  </a:cubicBezTo>
                  <a:cubicBezTo>
                    <a:pt x="637" y="851"/>
                    <a:pt x="660" y="859"/>
                    <a:pt x="667" y="870"/>
                  </a:cubicBezTo>
                  <a:cubicBezTo>
                    <a:pt x="669" y="873"/>
                    <a:pt x="672" y="877"/>
                    <a:pt x="674" y="880"/>
                  </a:cubicBezTo>
                  <a:cubicBezTo>
                    <a:pt x="677" y="883"/>
                    <a:pt x="683" y="882"/>
                    <a:pt x="682" y="879"/>
                  </a:cubicBezTo>
                  <a:cubicBezTo>
                    <a:pt x="669" y="853"/>
                    <a:pt x="648" y="836"/>
                    <a:pt x="626" y="818"/>
                  </a:cubicBezTo>
                  <a:cubicBezTo>
                    <a:pt x="581" y="781"/>
                    <a:pt x="540" y="760"/>
                    <a:pt x="503" y="725"/>
                  </a:cubicBezTo>
                  <a:cubicBezTo>
                    <a:pt x="507" y="722"/>
                    <a:pt x="510" y="719"/>
                    <a:pt x="511" y="715"/>
                  </a:cubicBezTo>
                  <a:cubicBezTo>
                    <a:pt x="515" y="707"/>
                    <a:pt x="521" y="695"/>
                    <a:pt x="523" y="692"/>
                  </a:cubicBezTo>
                  <a:cubicBezTo>
                    <a:pt x="525" y="698"/>
                    <a:pt x="533" y="709"/>
                    <a:pt x="536" y="714"/>
                  </a:cubicBezTo>
                  <a:cubicBezTo>
                    <a:pt x="538" y="717"/>
                    <a:pt x="549" y="730"/>
                    <a:pt x="553" y="726"/>
                  </a:cubicBezTo>
                  <a:cubicBezTo>
                    <a:pt x="555" y="725"/>
                    <a:pt x="546" y="717"/>
                    <a:pt x="545" y="715"/>
                  </a:cubicBezTo>
                  <a:cubicBezTo>
                    <a:pt x="541" y="708"/>
                    <a:pt x="535" y="700"/>
                    <a:pt x="531" y="693"/>
                  </a:cubicBezTo>
                  <a:cubicBezTo>
                    <a:pt x="525" y="685"/>
                    <a:pt x="527" y="669"/>
                    <a:pt x="521" y="669"/>
                  </a:cubicBezTo>
                  <a:cubicBezTo>
                    <a:pt x="517" y="670"/>
                    <a:pt x="518" y="682"/>
                    <a:pt x="518" y="685"/>
                  </a:cubicBezTo>
                  <a:cubicBezTo>
                    <a:pt x="518" y="689"/>
                    <a:pt x="511" y="694"/>
                    <a:pt x="510" y="697"/>
                  </a:cubicBezTo>
                  <a:cubicBezTo>
                    <a:pt x="506" y="704"/>
                    <a:pt x="504" y="710"/>
                    <a:pt x="500" y="715"/>
                  </a:cubicBezTo>
                  <a:cubicBezTo>
                    <a:pt x="497" y="718"/>
                    <a:pt x="488" y="726"/>
                    <a:pt x="485" y="730"/>
                  </a:cubicBezTo>
                  <a:cubicBezTo>
                    <a:pt x="485" y="723"/>
                    <a:pt x="485" y="723"/>
                    <a:pt x="485" y="723"/>
                  </a:cubicBezTo>
                  <a:cubicBezTo>
                    <a:pt x="485" y="720"/>
                    <a:pt x="486" y="718"/>
                    <a:pt x="486" y="716"/>
                  </a:cubicBezTo>
                  <a:cubicBezTo>
                    <a:pt x="487" y="712"/>
                    <a:pt x="488" y="708"/>
                    <a:pt x="489" y="704"/>
                  </a:cubicBezTo>
                  <a:cubicBezTo>
                    <a:pt x="489" y="699"/>
                    <a:pt x="492" y="686"/>
                    <a:pt x="485" y="687"/>
                  </a:cubicBezTo>
                  <a:cubicBezTo>
                    <a:pt x="483" y="704"/>
                    <a:pt x="478" y="725"/>
                    <a:pt x="474" y="734"/>
                  </a:cubicBezTo>
                  <a:cubicBezTo>
                    <a:pt x="467" y="748"/>
                    <a:pt x="468" y="767"/>
                    <a:pt x="474" y="775"/>
                  </a:cubicBezTo>
                  <a:cubicBezTo>
                    <a:pt x="465" y="772"/>
                    <a:pt x="455" y="757"/>
                    <a:pt x="452" y="753"/>
                  </a:cubicBezTo>
                  <a:cubicBezTo>
                    <a:pt x="449" y="747"/>
                    <a:pt x="451" y="740"/>
                    <a:pt x="452" y="735"/>
                  </a:cubicBezTo>
                  <a:cubicBezTo>
                    <a:pt x="453" y="725"/>
                    <a:pt x="458" y="708"/>
                    <a:pt x="449" y="705"/>
                  </a:cubicBezTo>
                  <a:cubicBezTo>
                    <a:pt x="448" y="720"/>
                    <a:pt x="446" y="737"/>
                    <a:pt x="442" y="741"/>
                  </a:cubicBezTo>
                  <a:cubicBezTo>
                    <a:pt x="437" y="747"/>
                    <a:pt x="429" y="757"/>
                    <a:pt x="417" y="762"/>
                  </a:cubicBezTo>
                  <a:cubicBezTo>
                    <a:pt x="421" y="754"/>
                    <a:pt x="424" y="744"/>
                    <a:pt x="426" y="735"/>
                  </a:cubicBezTo>
                  <a:cubicBezTo>
                    <a:pt x="428" y="726"/>
                    <a:pt x="425" y="711"/>
                    <a:pt x="418" y="716"/>
                  </a:cubicBezTo>
                  <a:cubicBezTo>
                    <a:pt x="422" y="727"/>
                    <a:pt x="416" y="745"/>
                    <a:pt x="412" y="754"/>
                  </a:cubicBezTo>
                  <a:cubicBezTo>
                    <a:pt x="405" y="767"/>
                    <a:pt x="401" y="788"/>
                    <a:pt x="401" y="803"/>
                  </a:cubicBezTo>
                  <a:cubicBezTo>
                    <a:pt x="396" y="800"/>
                    <a:pt x="389" y="773"/>
                    <a:pt x="389" y="764"/>
                  </a:cubicBezTo>
                  <a:cubicBezTo>
                    <a:pt x="390" y="754"/>
                    <a:pt x="391" y="730"/>
                    <a:pt x="389" y="725"/>
                  </a:cubicBezTo>
                  <a:cubicBezTo>
                    <a:pt x="385" y="715"/>
                    <a:pt x="381" y="722"/>
                    <a:pt x="381" y="736"/>
                  </a:cubicBezTo>
                  <a:cubicBezTo>
                    <a:pt x="381" y="752"/>
                    <a:pt x="373" y="757"/>
                    <a:pt x="363" y="769"/>
                  </a:cubicBezTo>
                  <a:cubicBezTo>
                    <a:pt x="363" y="769"/>
                    <a:pt x="362" y="764"/>
                    <a:pt x="362" y="763"/>
                  </a:cubicBezTo>
                  <a:cubicBezTo>
                    <a:pt x="362" y="761"/>
                    <a:pt x="359" y="758"/>
                    <a:pt x="358" y="757"/>
                  </a:cubicBezTo>
                  <a:cubicBezTo>
                    <a:pt x="356" y="752"/>
                    <a:pt x="346" y="749"/>
                    <a:pt x="342" y="749"/>
                  </a:cubicBezTo>
                  <a:cubicBezTo>
                    <a:pt x="337" y="749"/>
                    <a:pt x="333" y="750"/>
                    <a:pt x="329" y="751"/>
                  </a:cubicBezTo>
                  <a:cubicBezTo>
                    <a:pt x="325" y="752"/>
                    <a:pt x="322" y="755"/>
                    <a:pt x="316" y="756"/>
                  </a:cubicBezTo>
                  <a:cubicBezTo>
                    <a:pt x="302" y="756"/>
                    <a:pt x="302" y="752"/>
                    <a:pt x="294" y="753"/>
                  </a:cubicBezTo>
                  <a:cubicBezTo>
                    <a:pt x="285" y="755"/>
                    <a:pt x="294" y="760"/>
                    <a:pt x="295" y="761"/>
                  </a:cubicBezTo>
                  <a:cubicBezTo>
                    <a:pt x="301" y="768"/>
                    <a:pt x="303" y="772"/>
                    <a:pt x="303" y="782"/>
                  </a:cubicBezTo>
                  <a:cubicBezTo>
                    <a:pt x="302" y="791"/>
                    <a:pt x="296" y="795"/>
                    <a:pt x="290" y="801"/>
                  </a:cubicBezTo>
                  <a:cubicBezTo>
                    <a:pt x="290" y="798"/>
                    <a:pt x="290" y="795"/>
                    <a:pt x="289" y="793"/>
                  </a:cubicBezTo>
                  <a:cubicBezTo>
                    <a:pt x="287" y="787"/>
                    <a:pt x="283" y="782"/>
                    <a:pt x="276" y="779"/>
                  </a:cubicBezTo>
                  <a:cubicBezTo>
                    <a:pt x="270" y="776"/>
                    <a:pt x="265" y="777"/>
                    <a:pt x="262" y="778"/>
                  </a:cubicBezTo>
                  <a:cubicBezTo>
                    <a:pt x="258" y="779"/>
                    <a:pt x="256" y="782"/>
                    <a:pt x="254" y="784"/>
                  </a:cubicBezTo>
                  <a:cubicBezTo>
                    <a:pt x="254" y="784"/>
                    <a:pt x="253" y="785"/>
                    <a:pt x="253" y="786"/>
                  </a:cubicBezTo>
                  <a:cubicBezTo>
                    <a:pt x="250" y="790"/>
                    <a:pt x="250" y="794"/>
                    <a:pt x="250" y="798"/>
                  </a:cubicBezTo>
                  <a:cubicBezTo>
                    <a:pt x="250" y="799"/>
                    <a:pt x="250" y="801"/>
                    <a:pt x="250" y="802"/>
                  </a:cubicBezTo>
                  <a:cubicBezTo>
                    <a:pt x="246" y="802"/>
                    <a:pt x="242" y="800"/>
                    <a:pt x="239" y="798"/>
                  </a:cubicBezTo>
                  <a:cubicBezTo>
                    <a:pt x="236" y="795"/>
                    <a:pt x="234" y="792"/>
                    <a:pt x="231" y="787"/>
                  </a:cubicBezTo>
                  <a:cubicBezTo>
                    <a:pt x="228" y="783"/>
                    <a:pt x="228" y="778"/>
                    <a:pt x="229" y="774"/>
                  </a:cubicBezTo>
                  <a:cubicBezTo>
                    <a:pt x="231" y="769"/>
                    <a:pt x="230" y="767"/>
                    <a:pt x="227" y="767"/>
                  </a:cubicBezTo>
                  <a:cubicBezTo>
                    <a:pt x="224" y="767"/>
                    <a:pt x="222" y="773"/>
                    <a:pt x="222" y="779"/>
                  </a:cubicBezTo>
                  <a:cubicBezTo>
                    <a:pt x="215" y="787"/>
                    <a:pt x="200" y="790"/>
                    <a:pt x="189" y="790"/>
                  </a:cubicBezTo>
                  <a:cubicBezTo>
                    <a:pt x="185" y="779"/>
                    <a:pt x="171" y="777"/>
                    <a:pt x="172" y="786"/>
                  </a:cubicBezTo>
                  <a:cubicBezTo>
                    <a:pt x="178" y="789"/>
                    <a:pt x="183" y="792"/>
                    <a:pt x="181" y="807"/>
                  </a:cubicBezTo>
                  <a:cubicBezTo>
                    <a:pt x="181" y="813"/>
                    <a:pt x="176" y="822"/>
                    <a:pt x="173" y="826"/>
                  </a:cubicBezTo>
                  <a:cubicBezTo>
                    <a:pt x="161" y="840"/>
                    <a:pt x="143" y="847"/>
                    <a:pt x="130" y="841"/>
                  </a:cubicBezTo>
                  <a:cubicBezTo>
                    <a:pt x="131" y="839"/>
                    <a:pt x="132" y="838"/>
                    <a:pt x="133" y="837"/>
                  </a:cubicBezTo>
                  <a:cubicBezTo>
                    <a:pt x="136" y="829"/>
                    <a:pt x="134" y="818"/>
                    <a:pt x="128" y="812"/>
                  </a:cubicBezTo>
                  <a:cubicBezTo>
                    <a:pt x="123" y="807"/>
                    <a:pt x="117" y="805"/>
                    <a:pt x="110" y="807"/>
                  </a:cubicBezTo>
                  <a:cubicBezTo>
                    <a:pt x="100" y="810"/>
                    <a:pt x="95" y="815"/>
                    <a:pt x="92" y="820"/>
                  </a:cubicBezTo>
                  <a:cubicBezTo>
                    <a:pt x="83" y="809"/>
                    <a:pt x="88" y="798"/>
                    <a:pt x="91" y="791"/>
                  </a:cubicBezTo>
                  <a:cubicBezTo>
                    <a:pt x="96" y="782"/>
                    <a:pt x="105" y="776"/>
                    <a:pt x="116" y="769"/>
                  </a:cubicBezTo>
                  <a:cubicBezTo>
                    <a:pt x="116" y="769"/>
                    <a:pt x="117" y="769"/>
                    <a:pt x="117" y="769"/>
                  </a:cubicBezTo>
                  <a:cubicBezTo>
                    <a:pt x="125" y="769"/>
                    <a:pt x="133" y="775"/>
                    <a:pt x="133" y="771"/>
                  </a:cubicBezTo>
                  <a:cubicBezTo>
                    <a:pt x="134" y="769"/>
                    <a:pt x="128" y="767"/>
                    <a:pt x="121" y="766"/>
                  </a:cubicBezTo>
                  <a:cubicBezTo>
                    <a:pt x="140" y="754"/>
                    <a:pt x="148" y="746"/>
                    <a:pt x="158" y="735"/>
                  </a:cubicBezTo>
                  <a:cubicBezTo>
                    <a:pt x="167" y="725"/>
                    <a:pt x="174" y="719"/>
                    <a:pt x="167" y="716"/>
                  </a:cubicBezTo>
                  <a:cubicBezTo>
                    <a:pt x="153" y="725"/>
                    <a:pt x="144" y="737"/>
                    <a:pt x="131" y="746"/>
                  </a:cubicBezTo>
                  <a:cubicBezTo>
                    <a:pt x="124" y="752"/>
                    <a:pt x="115" y="757"/>
                    <a:pt x="106" y="763"/>
                  </a:cubicBezTo>
                  <a:cubicBezTo>
                    <a:pt x="105" y="763"/>
                    <a:pt x="104" y="763"/>
                    <a:pt x="102" y="763"/>
                  </a:cubicBezTo>
                  <a:cubicBezTo>
                    <a:pt x="100" y="762"/>
                    <a:pt x="101" y="759"/>
                    <a:pt x="97" y="759"/>
                  </a:cubicBezTo>
                  <a:cubicBezTo>
                    <a:pt x="93" y="759"/>
                    <a:pt x="95" y="763"/>
                    <a:pt x="96" y="764"/>
                  </a:cubicBezTo>
                  <a:cubicBezTo>
                    <a:pt x="96" y="766"/>
                    <a:pt x="98" y="767"/>
                    <a:pt x="101" y="767"/>
                  </a:cubicBezTo>
                  <a:cubicBezTo>
                    <a:pt x="92" y="774"/>
                    <a:pt x="84" y="780"/>
                    <a:pt x="81" y="786"/>
                  </a:cubicBezTo>
                  <a:cubicBezTo>
                    <a:pt x="80" y="790"/>
                    <a:pt x="79" y="793"/>
                    <a:pt x="78" y="797"/>
                  </a:cubicBezTo>
                  <a:cubicBezTo>
                    <a:pt x="74" y="794"/>
                    <a:pt x="67" y="795"/>
                    <a:pt x="61" y="792"/>
                  </a:cubicBezTo>
                  <a:cubicBezTo>
                    <a:pt x="54" y="789"/>
                    <a:pt x="50" y="786"/>
                    <a:pt x="49" y="778"/>
                  </a:cubicBezTo>
                  <a:cubicBezTo>
                    <a:pt x="49" y="777"/>
                    <a:pt x="49" y="777"/>
                    <a:pt x="50" y="776"/>
                  </a:cubicBezTo>
                  <a:cubicBezTo>
                    <a:pt x="56" y="775"/>
                    <a:pt x="62" y="772"/>
                    <a:pt x="67" y="768"/>
                  </a:cubicBezTo>
                  <a:cubicBezTo>
                    <a:pt x="71" y="763"/>
                    <a:pt x="72" y="758"/>
                    <a:pt x="71" y="753"/>
                  </a:cubicBezTo>
                  <a:cubicBezTo>
                    <a:pt x="69" y="740"/>
                    <a:pt x="62" y="735"/>
                    <a:pt x="57" y="732"/>
                  </a:cubicBezTo>
                  <a:cubicBezTo>
                    <a:pt x="53" y="730"/>
                    <a:pt x="49" y="730"/>
                    <a:pt x="45" y="730"/>
                  </a:cubicBezTo>
                  <a:cubicBezTo>
                    <a:pt x="45" y="729"/>
                    <a:pt x="45" y="729"/>
                    <a:pt x="45" y="728"/>
                  </a:cubicBezTo>
                  <a:cubicBezTo>
                    <a:pt x="45" y="719"/>
                    <a:pt x="65" y="711"/>
                    <a:pt x="72" y="711"/>
                  </a:cubicBezTo>
                  <a:cubicBezTo>
                    <a:pt x="76" y="711"/>
                    <a:pt x="78" y="711"/>
                    <a:pt x="81" y="712"/>
                  </a:cubicBezTo>
                  <a:cubicBezTo>
                    <a:pt x="81" y="712"/>
                    <a:pt x="81" y="712"/>
                    <a:pt x="81" y="712"/>
                  </a:cubicBezTo>
                  <a:cubicBezTo>
                    <a:pt x="83" y="713"/>
                    <a:pt x="85" y="714"/>
                    <a:pt x="87" y="716"/>
                  </a:cubicBezTo>
                  <a:cubicBezTo>
                    <a:pt x="89" y="717"/>
                    <a:pt x="90" y="721"/>
                    <a:pt x="91" y="722"/>
                  </a:cubicBezTo>
                  <a:cubicBezTo>
                    <a:pt x="91" y="723"/>
                    <a:pt x="92" y="724"/>
                    <a:pt x="93" y="724"/>
                  </a:cubicBezTo>
                  <a:cubicBezTo>
                    <a:pt x="93" y="724"/>
                    <a:pt x="96" y="725"/>
                    <a:pt x="97" y="723"/>
                  </a:cubicBezTo>
                  <a:cubicBezTo>
                    <a:pt x="97" y="720"/>
                    <a:pt x="96" y="718"/>
                    <a:pt x="95" y="715"/>
                  </a:cubicBezTo>
                  <a:cubicBezTo>
                    <a:pt x="105" y="717"/>
                    <a:pt x="116" y="717"/>
                    <a:pt x="129" y="710"/>
                  </a:cubicBezTo>
                  <a:cubicBezTo>
                    <a:pt x="139" y="705"/>
                    <a:pt x="171" y="695"/>
                    <a:pt x="148" y="695"/>
                  </a:cubicBezTo>
                  <a:cubicBezTo>
                    <a:pt x="139" y="695"/>
                    <a:pt x="126" y="703"/>
                    <a:pt x="116" y="706"/>
                  </a:cubicBezTo>
                  <a:cubicBezTo>
                    <a:pt x="117" y="705"/>
                    <a:pt x="118" y="703"/>
                    <a:pt x="118" y="702"/>
                  </a:cubicBezTo>
                  <a:cubicBezTo>
                    <a:pt x="118" y="701"/>
                    <a:pt x="116" y="699"/>
                    <a:pt x="115" y="699"/>
                  </a:cubicBezTo>
                  <a:cubicBezTo>
                    <a:pt x="114" y="699"/>
                    <a:pt x="113" y="700"/>
                    <a:pt x="112" y="701"/>
                  </a:cubicBezTo>
                  <a:cubicBezTo>
                    <a:pt x="110" y="703"/>
                    <a:pt x="109" y="705"/>
                    <a:pt x="107" y="707"/>
                  </a:cubicBezTo>
                  <a:cubicBezTo>
                    <a:pt x="99" y="707"/>
                    <a:pt x="91" y="707"/>
                    <a:pt x="84" y="705"/>
                  </a:cubicBezTo>
                  <a:cubicBezTo>
                    <a:pt x="81" y="704"/>
                    <a:pt x="78" y="703"/>
                    <a:pt x="75" y="703"/>
                  </a:cubicBezTo>
                  <a:cubicBezTo>
                    <a:pt x="71" y="702"/>
                    <a:pt x="68" y="701"/>
                    <a:pt x="66" y="700"/>
                  </a:cubicBezTo>
                  <a:cubicBezTo>
                    <a:pt x="60" y="698"/>
                    <a:pt x="62" y="685"/>
                    <a:pt x="64" y="678"/>
                  </a:cubicBezTo>
                  <a:cubicBezTo>
                    <a:pt x="65" y="675"/>
                    <a:pt x="69" y="670"/>
                    <a:pt x="72" y="667"/>
                  </a:cubicBezTo>
                  <a:cubicBezTo>
                    <a:pt x="73" y="666"/>
                    <a:pt x="79" y="665"/>
                    <a:pt x="82" y="664"/>
                  </a:cubicBezTo>
                  <a:cubicBezTo>
                    <a:pt x="82" y="665"/>
                    <a:pt x="83" y="667"/>
                    <a:pt x="85" y="669"/>
                  </a:cubicBezTo>
                  <a:cubicBezTo>
                    <a:pt x="89" y="675"/>
                    <a:pt x="97" y="678"/>
                    <a:pt x="105" y="678"/>
                  </a:cubicBezTo>
                  <a:cubicBezTo>
                    <a:pt x="106" y="678"/>
                    <a:pt x="108" y="678"/>
                    <a:pt x="109" y="678"/>
                  </a:cubicBezTo>
                  <a:cubicBezTo>
                    <a:pt x="115" y="677"/>
                    <a:pt x="120" y="672"/>
                    <a:pt x="122" y="665"/>
                  </a:cubicBezTo>
                  <a:cubicBezTo>
                    <a:pt x="122" y="663"/>
                    <a:pt x="122" y="660"/>
                    <a:pt x="122" y="658"/>
                  </a:cubicBezTo>
                  <a:cubicBezTo>
                    <a:pt x="129" y="658"/>
                    <a:pt x="133" y="660"/>
                    <a:pt x="138" y="664"/>
                  </a:cubicBezTo>
                  <a:cubicBezTo>
                    <a:pt x="144" y="669"/>
                    <a:pt x="144" y="673"/>
                    <a:pt x="147" y="677"/>
                  </a:cubicBezTo>
                  <a:cubicBezTo>
                    <a:pt x="151" y="682"/>
                    <a:pt x="163" y="693"/>
                    <a:pt x="205" y="681"/>
                  </a:cubicBezTo>
                  <a:cubicBezTo>
                    <a:pt x="221" y="677"/>
                    <a:pt x="244" y="663"/>
                    <a:pt x="259" y="653"/>
                  </a:cubicBezTo>
                  <a:cubicBezTo>
                    <a:pt x="269" y="647"/>
                    <a:pt x="336" y="605"/>
                    <a:pt x="352" y="599"/>
                  </a:cubicBezTo>
                  <a:cubicBezTo>
                    <a:pt x="356" y="600"/>
                    <a:pt x="361" y="600"/>
                    <a:pt x="364" y="600"/>
                  </a:cubicBezTo>
                  <a:cubicBezTo>
                    <a:pt x="367" y="599"/>
                    <a:pt x="376" y="598"/>
                    <a:pt x="379" y="597"/>
                  </a:cubicBezTo>
                  <a:cubicBezTo>
                    <a:pt x="383" y="596"/>
                    <a:pt x="388" y="594"/>
                    <a:pt x="392" y="593"/>
                  </a:cubicBezTo>
                  <a:cubicBezTo>
                    <a:pt x="392" y="593"/>
                    <a:pt x="393" y="593"/>
                    <a:pt x="393" y="593"/>
                  </a:cubicBezTo>
                  <a:cubicBezTo>
                    <a:pt x="374" y="604"/>
                    <a:pt x="355" y="614"/>
                    <a:pt x="333" y="626"/>
                  </a:cubicBezTo>
                  <a:cubicBezTo>
                    <a:pt x="332" y="626"/>
                    <a:pt x="312" y="636"/>
                    <a:pt x="305" y="642"/>
                  </a:cubicBezTo>
                  <a:cubicBezTo>
                    <a:pt x="299" y="648"/>
                    <a:pt x="313" y="643"/>
                    <a:pt x="326" y="637"/>
                  </a:cubicBezTo>
                  <a:cubicBezTo>
                    <a:pt x="340" y="630"/>
                    <a:pt x="355" y="621"/>
                    <a:pt x="368" y="615"/>
                  </a:cubicBezTo>
                  <a:cubicBezTo>
                    <a:pt x="379" y="610"/>
                    <a:pt x="391" y="602"/>
                    <a:pt x="401" y="596"/>
                  </a:cubicBezTo>
                  <a:cubicBezTo>
                    <a:pt x="414" y="600"/>
                    <a:pt x="431" y="602"/>
                    <a:pt x="443" y="600"/>
                  </a:cubicBezTo>
                  <a:cubicBezTo>
                    <a:pt x="453" y="599"/>
                    <a:pt x="463" y="595"/>
                    <a:pt x="470" y="592"/>
                  </a:cubicBezTo>
                  <a:cubicBezTo>
                    <a:pt x="480" y="588"/>
                    <a:pt x="488" y="585"/>
                    <a:pt x="495" y="577"/>
                  </a:cubicBezTo>
                  <a:cubicBezTo>
                    <a:pt x="495" y="593"/>
                    <a:pt x="493" y="610"/>
                    <a:pt x="490" y="629"/>
                  </a:cubicBezTo>
                  <a:cubicBezTo>
                    <a:pt x="489" y="633"/>
                    <a:pt x="484" y="650"/>
                    <a:pt x="482" y="654"/>
                  </a:cubicBezTo>
                  <a:cubicBezTo>
                    <a:pt x="481" y="658"/>
                    <a:pt x="478" y="662"/>
                    <a:pt x="476" y="665"/>
                  </a:cubicBezTo>
                  <a:cubicBezTo>
                    <a:pt x="474" y="667"/>
                    <a:pt x="465" y="672"/>
                    <a:pt x="465" y="673"/>
                  </a:cubicBezTo>
                  <a:cubicBezTo>
                    <a:pt x="463" y="679"/>
                    <a:pt x="469" y="681"/>
                    <a:pt x="475" y="680"/>
                  </a:cubicBezTo>
                  <a:cubicBezTo>
                    <a:pt x="483" y="679"/>
                    <a:pt x="489" y="676"/>
                    <a:pt x="494" y="674"/>
                  </a:cubicBezTo>
                  <a:cubicBezTo>
                    <a:pt x="503" y="670"/>
                    <a:pt x="520" y="663"/>
                    <a:pt x="529" y="650"/>
                  </a:cubicBezTo>
                  <a:cubicBezTo>
                    <a:pt x="543" y="650"/>
                    <a:pt x="563" y="643"/>
                    <a:pt x="568" y="640"/>
                  </a:cubicBezTo>
                  <a:cubicBezTo>
                    <a:pt x="583" y="630"/>
                    <a:pt x="596" y="618"/>
                    <a:pt x="601" y="611"/>
                  </a:cubicBezTo>
                  <a:cubicBezTo>
                    <a:pt x="603" y="609"/>
                    <a:pt x="607" y="603"/>
                    <a:pt x="610" y="599"/>
                  </a:cubicBezTo>
                  <a:cubicBezTo>
                    <a:pt x="611" y="619"/>
                    <a:pt x="617" y="643"/>
                    <a:pt x="624" y="656"/>
                  </a:cubicBezTo>
                  <a:cubicBezTo>
                    <a:pt x="632" y="671"/>
                    <a:pt x="658" y="708"/>
                    <a:pt x="682" y="707"/>
                  </a:cubicBezTo>
                  <a:cubicBezTo>
                    <a:pt x="684" y="700"/>
                    <a:pt x="674" y="696"/>
                    <a:pt x="672" y="690"/>
                  </a:cubicBezTo>
                  <a:cubicBezTo>
                    <a:pt x="669" y="674"/>
                    <a:pt x="672" y="666"/>
                    <a:pt x="675" y="655"/>
                  </a:cubicBezTo>
                  <a:cubicBezTo>
                    <a:pt x="678" y="645"/>
                    <a:pt x="684" y="627"/>
                    <a:pt x="686" y="618"/>
                  </a:cubicBezTo>
                  <a:cubicBezTo>
                    <a:pt x="693" y="625"/>
                    <a:pt x="700" y="633"/>
                    <a:pt x="708" y="639"/>
                  </a:cubicBezTo>
                  <a:cubicBezTo>
                    <a:pt x="717" y="651"/>
                    <a:pt x="734" y="679"/>
                    <a:pt x="740" y="691"/>
                  </a:cubicBezTo>
                  <a:cubicBezTo>
                    <a:pt x="744" y="700"/>
                    <a:pt x="753" y="713"/>
                    <a:pt x="760" y="729"/>
                  </a:cubicBezTo>
                  <a:cubicBezTo>
                    <a:pt x="764" y="739"/>
                    <a:pt x="778" y="761"/>
                    <a:pt x="774" y="745"/>
                  </a:cubicBezTo>
                  <a:cubicBezTo>
                    <a:pt x="772" y="733"/>
                    <a:pt x="760" y="706"/>
                    <a:pt x="754" y="694"/>
                  </a:cubicBezTo>
                  <a:cubicBezTo>
                    <a:pt x="746" y="680"/>
                    <a:pt x="736" y="665"/>
                    <a:pt x="727" y="650"/>
                  </a:cubicBezTo>
                  <a:cubicBezTo>
                    <a:pt x="733" y="652"/>
                    <a:pt x="739" y="654"/>
                    <a:pt x="744" y="656"/>
                  </a:cubicBezTo>
                  <a:cubicBezTo>
                    <a:pt x="774" y="699"/>
                    <a:pt x="792" y="759"/>
                    <a:pt x="816" y="807"/>
                  </a:cubicBezTo>
                  <a:cubicBezTo>
                    <a:pt x="842" y="859"/>
                    <a:pt x="867" y="912"/>
                    <a:pt x="903" y="964"/>
                  </a:cubicBezTo>
                  <a:cubicBezTo>
                    <a:pt x="908" y="972"/>
                    <a:pt x="924" y="989"/>
                    <a:pt x="930" y="995"/>
                  </a:cubicBezTo>
                  <a:cubicBezTo>
                    <a:pt x="939" y="1004"/>
                    <a:pt x="965" y="1024"/>
                    <a:pt x="986" y="1009"/>
                  </a:cubicBezTo>
                  <a:cubicBezTo>
                    <a:pt x="1002" y="997"/>
                    <a:pt x="1008" y="980"/>
                    <a:pt x="1006" y="954"/>
                  </a:cubicBezTo>
                  <a:cubicBezTo>
                    <a:pt x="1003" y="954"/>
                    <a:pt x="1000" y="954"/>
                    <a:pt x="996" y="953"/>
                  </a:cubicBezTo>
                  <a:cubicBezTo>
                    <a:pt x="996" y="953"/>
                    <a:pt x="996" y="953"/>
                    <a:pt x="996" y="953"/>
                  </a:cubicBezTo>
                  <a:cubicBezTo>
                    <a:pt x="1000" y="989"/>
                    <a:pt x="976" y="1023"/>
                    <a:pt x="938" y="987"/>
                  </a:cubicBezTo>
                  <a:cubicBezTo>
                    <a:pt x="923" y="971"/>
                    <a:pt x="910" y="953"/>
                    <a:pt x="900" y="939"/>
                  </a:cubicBezTo>
                  <a:cubicBezTo>
                    <a:pt x="894" y="930"/>
                    <a:pt x="869" y="885"/>
                    <a:pt x="865" y="876"/>
                  </a:cubicBezTo>
                  <a:cubicBezTo>
                    <a:pt x="851" y="851"/>
                    <a:pt x="834" y="821"/>
                    <a:pt x="823" y="796"/>
                  </a:cubicBezTo>
                  <a:cubicBezTo>
                    <a:pt x="813" y="774"/>
                    <a:pt x="795" y="733"/>
                    <a:pt x="785" y="711"/>
                  </a:cubicBezTo>
                  <a:cubicBezTo>
                    <a:pt x="778" y="694"/>
                    <a:pt x="766" y="675"/>
                    <a:pt x="760" y="658"/>
                  </a:cubicBezTo>
                  <a:cubicBezTo>
                    <a:pt x="769" y="659"/>
                    <a:pt x="779" y="659"/>
                    <a:pt x="789" y="658"/>
                  </a:cubicBezTo>
                  <a:cubicBezTo>
                    <a:pt x="788" y="650"/>
                    <a:pt x="772" y="641"/>
                    <a:pt x="769" y="635"/>
                  </a:cubicBezTo>
                  <a:cubicBezTo>
                    <a:pt x="761" y="623"/>
                    <a:pt x="752" y="604"/>
                    <a:pt x="745" y="594"/>
                  </a:cubicBezTo>
                  <a:cubicBezTo>
                    <a:pt x="757" y="584"/>
                    <a:pt x="771" y="553"/>
                    <a:pt x="773" y="536"/>
                  </a:cubicBezTo>
                  <a:cubicBezTo>
                    <a:pt x="774" y="522"/>
                    <a:pt x="777" y="482"/>
                    <a:pt x="773" y="471"/>
                  </a:cubicBezTo>
                  <a:cubicBezTo>
                    <a:pt x="784" y="477"/>
                    <a:pt x="794" y="486"/>
                    <a:pt x="809" y="489"/>
                  </a:cubicBezTo>
                  <a:cubicBezTo>
                    <a:pt x="817" y="491"/>
                    <a:pt x="826" y="492"/>
                    <a:pt x="834" y="491"/>
                  </a:cubicBezTo>
                  <a:cubicBezTo>
                    <a:pt x="839" y="491"/>
                    <a:pt x="849" y="488"/>
                    <a:pt x="851" y="485"/>
                  </a:cubicBezTo>
                  <a:cubicBezTo>
                    <a:pt x="851" y="482"/>
                    <a:pt x="847" y="479"/>
                    <a:pt x="842" y="478"/>
                  </a:cubicBezTo>
                  <a:cubicBezTo>
                    <a:pt x="834" y="476"/>
                    <a:pt x="832" y="472"/>
                    <a:pt x="829" y="468"/>
                  </a:cubicBezTo>
                  <a:cubicBezTo>
                    <a:pt x="826" y="464"/>
                    <a:pt x="822" y="457"/>
                    <a:pt x="820" y="450"/>
                  </a:cubicBezTo>
                  <a:cubicBezTo>
                    <a:pt x="816" y="440"/>
                    <a:pt x="808" y="417"/>
                    <a:pt x="803" y="407"/>
                  </a:cubicBezTo>
                  <a:cubicBezTo>
                    <a:pt x="803" y="397"/>
                    <a:pt x="807" y="396"/>
                    <a:pt x="808" y="389"/>
                  </a:cubicBezTo>
                  <a:cubicBezTo>
                    <a:pt x="809" y="383"/>
                    <a:pt x="809" y="375"/>
                    <a:pt x="809" y="370"/>
                  </a:cubicBezTo>
                  <a:cubicBezTo>
                    <a:pt x="808" y="363"/>
                    <a:pt x="807" y="359"/>
                    <a:pt x="804" y="352"/>
                  </a:cubicBezTo>
                  <a:cubicBezTo>
                    <a:pt x="814" y="331"/>
                    <a:pt x="810" y="313"/>
                    <a:pt x="808" y="304"/>
                  </a:cubicBezTo>
                  <a:cubicBezTo>
                    <a:pt x="807" y="299"/>
                    <a:pt x="803" y="295"/>
                    <a:pt x="800" y="291"/>
                  </a:cubicBezTo>
                  <a:cubicBezTo>
                    <a:pt x="800" y="289"/>
                    <a:pt x="798" y="289"/>
                    <a:pt x="805" y="285"/>
                  </a:cubicBezTo>
                  <a:cubicBezTo>
                    <a:pt x="808" y="283"/>
                    <a:pt x="816" y="278"/>
                    <a:pt x="818" y="275"/>
                  </a:cubicBezTo>
                  <a:cubicBezTo>
                    <a:pt x="819" y="272"/>
                    <a:pt x="822" y="269"/>
                    <a:pt x="823" y="266"/>
                  </a:cubicBezTo>
                  <a:cubicBezTo>
                    <a:pt x="826" y="255"/>
                    <a:pt x="827" y="250"/>
                    <a:pt x="827" y="241"/>
                  </a:cubicBezTo>
                  <a:cubicBezTo>
                    <a:pt x="827" y="233"/>
                    <a:pt x="826" y="225"/>
                    <a:pt x="825" y="217"/>
                  </a:cubicBezTo>
                  <a:cubicBezTo>
                    <a:pt x="825" y="219"/>
                    <a:pt x="818" y="228"/>
                    <a:pt x="817" y="229"/>
                  </a:cubicBezTo>
                  <a:cubicBezTo>
                    <a:pt x="813" y="233"/>
                    <a:pt x="810" y="236"/>
                    <a:pt x="805" y="237"/>
                  </a:cubicBezTo>
                  <a:cubicBezTo>
                    <a:pt x="783" y="237"/>
                    <a:pt x="772" y="232"/>
                    <a:pt x="765" y="225"/>
                  </a:cubicBezTo>
                  <a:cubicBezTo>
                    <a:pt x="773" y="220"/>
                    <a:pt x="776" y="214"/>
                    <a:pt x="779" y="209"/>
                  </a:cubicBezTo>
                  <a:cubicBezTo>
                    <a:pt x="784" y="202"/>
                    <a:pt x="785" y="187"/>
                    <a:pt x="784" y="172"/>
                  </a:cubicBezTo>
                  <a:cubicBezTo>
                    <a:pt x="783" y="157"/>
                    <a:pt x="780" y="142"/>
                    <a:pt x="777" y="135"/>
                  </a:cubicBezTo>
                  <a:cubicBezTo>
                    <a:pt x="773" y="125"/>
                    <a:pt x="765" y="126"/>
                    <a:pt x="757" y="127"/>
                  </a:cubicBezTo>
                  <a:cubicBezTo>
                    <a:pt x="750" y="129"/>
                    <a:pt x="742" y="132"/>
                    <a:pt x="736" y="135"/>
                  </a:cubicBezTo>
                  <a:cubicBezTo>
                    <a:pt x="734" y="133"/>
                    <a:pt x="732" y="132"/>
                    <a:pt x="730" y="130"/>
                  </a:cubicBezTo>
                  <a:cubicBezTo>
                    <a:pt x="731" y="102"/>
                    <a:pt x="740" y="72"/>
                    <a:pt x="749" y="47"/>
                  </a:cubicBezTo>
                  <a:cubicBezTo>
                    <a:pt x="752" y="36"/>
                    <a:pt x="760" y="24"/>
                    <a:pt x="761" y="19"/>
                  </a:cubicBezTo>
                  <a:cubicBezTo>
                    <a:pt x="762" y="16"/>
                    <a:pt x="756" y="14"/>
                    <a:pt x="749" y="16"/>
                  </a:cubicBezTo>
                  <a:cubicBezTo>
                    <a:pt x="744" y="17"/>
                    <a:pt x="739" y="19"/>
                    <a:pt x="735" y="22"/>
                  </a:cubicBezTo>
                  <a:cubicBezTo>
                    <a:pt x="727" y="27"/>
                    <a:pt x="720" y="33"/>
                    <a:pt x="715" y="40"/>
                  </a:cubicBezTo>
                  <a:cubicBezTo>
                    <a:pt x="703" y="38"/>
                    <a:pt x="703" y="38"/>
                    <a:pt x="698" y="40"/>
                  </a:cubicBezTo>
                  <a:cubicBezTo>
                    <a:pt x="694" y="41"/>
                    <a:pt x="692" y="43"/>
                    <a:pt x="689" y="47"/>
                  </a:cubicBezTo>
                  <a:cubicBezTo>
                    <a:pt x="687" y="44"/>
                    <a:pt x="682" y="39"/>
                    <a:pt x="679" y="37"/>
                  </a:cubicBezTo>
                  <a:cubicBezTo>
                    <a:pt x="675" y="36"/>
                    <a:pt x="671" y="34"/>
                    <a:pt x="664" y="35"/>
                  </a:cubicBezTo>
                  <a:cubicBezTo>
                    <a:pt x="663" y="30"/>
                    <a:pt x="661" y="23"/>
                    <a:pt x="659" y="18"/>
                  </a:cubicBezTo>
                  <a:cubicBezTo>
                    <a:pt x="653" y="8"/>
                    <a:pt x="648" y="1"/>
                    <a:pt x="635" y="1"/>
                  </a:cubicBezTo>
                  <a:cubicBezTo>
                    <a:pt x="623" y="0"/>
                    <a:pt x="613" y="15"/>
                    <a:pt x="607" y="25"/>
                  </a:cubicBezTo>
                  <a:cubicBezTo>
                    <a:pt x="606" y="26"/>
                    <a:pt x="605" y="30"/>
                    <a:pt x="603" y="33"/>
                  </a:cubicBezTo>
                  <a:cubicBezTo>
                    <a:pt x="594" y="34"/>
                    <a:pt x="586" y="38"/>
                    <a:pt x="581" y="48"/>
                  </a:cubicBezTo>
                  <a:cubicBezTo>
                    <a:pt x="575" y="38"/>
                    <a:pt x="563" y="38"/>
                    <a:pt x="558" y="38"/>
                  </a:cubicBezTo>
                  <a:cubicBezTo>
                    <a:pt x="548" y="24"/>
                    <a:pt x="536" y="15"/>
                    <a:pt x="519" y="19"/>
                  </a:cubicBezTo>
                  <a:cubicBezTo>
                    <a:pt x="509" y="22"/>
                    <a:pt x="531" y="49"/>
                    <a:pt x="537" y="69"/>
                  </a:cubicBezTo>
                  <a:cubicBezTo>
                    <a:pt x="540" y="81"/>
                    <a:pt x="542" y="98"/>
                    <a:pt x="543" y="107"/>
                  </a:cubicBezTo>
                  <a:cubicBezTo>
                    <a:pt x="543" y="115"/>
                    <a:pt x="545" y="125"/>
                    <a:pt x="545" y="134"/>
                  </a:cubicBezTo>
                  <a:cubicBezTo>
                    <a:pt x="542" y="136"/>
                    <a:pt x="539" y="137"/>
                    <a:pt x="536" y="138"/>
                  </a:cubicBezTo>
                  <a:cubicBezTo>
                    <a:pt x="532" y="141"/>
                    <a:pt x="525" y="145"/>
                    <a:pt x="520" y="154"/>
                  </a:cubicBezTo>
                  <a:cubicBezTo>
                    <a:pt x="515" y="162"/>
                    <a:pt x="512" y="166"/>
                    <a:pt x="503" y="168"/>
                  </a:cubicBezTo>
                  <a:cubicBezTo>
                    <a:pt x="491" y="171"/>
                    <a:pt x="480" y="181"/>
                    <a:pt x="468" y="188"/>
                  </a:cubicBezTo>
                  <a:cubicBezTo>
                    <a:pt x="462" y="193"/>
                    <a:pt x="456" y="192"/>
                    <a:pt x="456" y="202"/>
                  </a:cubicBezTo>
                  <a:cubicBezTo>
                    <a:pt x="456" y="208"/>
                    <a:pt x="461" y="213"/>
                    <a:pt x="464" y="215"/>
                  </a:cubicBezTo>
                  <a:cubicBezTo>
                    <a:pt x="465" y="215"/>
                    <a:pt x="465" y="225"/>
                    <a:pt x="465" y="226"/>
                  </a:cubicBezTo>
                  <a:cubicBezTo>
                    <a:pt x="465" y="243"/>
                    <a:pt x="484" y="254"/>
                    <a:pt x="501" y="251"/>
                  </a:cubicBezTo>
                  <a:cubicBezTo>
                    <a:pt x="502" y="251"/>
                    <a:pt x="503" y="251"/>
                    <a:pt x="504" y="250"/>
                  </a:cubicBezTo>
                  <a:cubicBezTo>
                    <a:pt x="504" y="253"/>
                    <a:pt x="504" y="255"/>
                    <a:pt x="506" y="259"/>
                  </a:cubicBezTo>
                  <a:cubicBezTo>
                    <a:pt x="508" y="262"/>
                    <a:pt x="514" y="270"/>
                    <a:pt x="521" y="274"/>
                  </a:cubicBezTo>
                  <a:cubicBezTo>
                    <a:pt x="509" y="275"/>
                    <a:pt x="497" y="276"/>
                    <a:pt x="488" y="276"/>
                  </a:cubicBezTo>
                  <a:cubicBezTo>
                    <a:pt x="459" y="274"/>
                    <a:pt x="448" y="272"/>
                    <a:pt x="432" y="259"/>
                  </a:cubicBezTo>
                  <a:cubicBezTo>
                    <a:pt x="424" y="252"/>
                    <a:pt x="421" y="240"/>
                    <a:pt x="422" y="233"/>
                  </a:cubicBezTo>
                  <a:cubicBezTo>
                    <a:pt x="424" y="226"/>
                    <a:pt x="428" y="220"/>
                    <a:pt x="427" y="216"/>
                  </a:cubicBezTo>
                  <a:cubicBezTo>
                    <a:pt x="414" y="221"/>
                    <a:pt x="397" y="236"/>
                    <a:pt x="396" y="251"/>
                  </a:cubicBezTo>
                  <a:cubicBezTo>
                    <a:pt x="392" y="291"/>
                    <a:pt x="412" y="301"/>
                    <a:pt x="431" y="307"/>
                  </a:cubicBezTo>
                  <a:cubicBezTo>
                    <a:pt x="448" y="312"/>
                    <a:pt x="461" y="312"/>
                    <a:pt x="475" y="312"/>
                  </a:cubicBezTo>
                  <a:cubicBezTo>
                    <a:pt x="483" y="312"/>
                    <a:pt x="493" y="312"/>
                    <a:pt x="505" y="309"/>
                  </a:cubicBezTo>
                  <a:cubicBezTo>
                    <a:pt x="511" y="307"/>
                    <a:pt x="514" y="308"/>
                    <a:pt x="519" y="309"/>
                  </a:cubicBezTo>
                  <a:cubicBezTo>
                    <a:pt x="505" y="326"/>
                    <a:pt x="500" y="346"/>
                    <a:pt x="486" y="362"/>
                  </a:cubicBezTo>
                  <a:cubicBezTo>
                    <a:pt x="486" y="365"/>
                    <a:pt x="499" y="365"/>
                    <a:pt x="501" y="365"/>
                  </a:cubicBezTo>
                  <a:cubicBezTo>
                    <a:pt x="505" y="365"/>
                    <a:pt x="509" y="363"/>
                    <a:pt x="513" y="361"/>
                  </a:cubicBezTo>
                  <a:cubicBezTo>
                    <a:pt x="520" y="359"/>
                    <a:pt x="526" y="359"/>
                    <a:pt x="531" y="359"/>
                  </a:cubicBezTo>
                  <a:cubicBezTo>
                    <a:pt x="535" y="359"/>
                    <a:pt x="534" y="362"/>
                    <a:pt x="535" y="362"/>
                  </a:cubicBezTo>
                  <a:cubicBezTo>
                    <a:pt x="536" y="364"/>
                    <a:pt x="539" y="363"/>
                    <a:pt x="539" y="366"/>
                  </a:cubicBezTo>
                  <a:cubicBezTo>
                    <a:pt x="538" y="367"/>
                    <a:pt x="538" y="369"/>
                    <a:pt x="538" y="370"/>
                  </a:cubicBezTo>
                  <a:cubicBezTo>
                    <a:pt x="532" y="376"/>
                    <a:pt x="525" y="382"/>
                    <a:pt x="520" y="388"/>
                  </a:cubicBezTo>
                  <a:cubicBezTo>
                    <a:pt x="511" y="398"/>
                    <a:pt x="491" y="416"/>
                    <a:pt x="478" y="402"/>
                  </a:cubicBezTo>
                  <a:cubicBezTo>
                    <a:pt x="468" y="393"/>
                    <a:pt x="491" y="375"/>
                    <a:pt x="475" y="379"/>
                  </a:cubicBezTo>
                  <a:cubicBezTo>
                    <a:pt x="462" y="381"/>
                    <a:pt x="453" y="387"/>
                    <a:pt x="445" y="395"/>
                  </a:cubicBezTo>
                  <a:cubicBezTo>
                    <a:pt x="434" y="382"/>
                    <a:pt x="424" y="365"/>
                    <a:pt x="412" y="353"/>
                  </a:cubicBezTo>
                  <a:cubicBezTo>
                    <a:pt x="400" y="341"/>
                    <a:pt x="377" y="321"/>
                    <a:pt x="366" y="310"/>
                  </a:cubicBezTo>
                  <a:cubicBezTo>
                    <a:pt x="353" y="296"/>
                    <a:pt x="328" y="275"/>
                    <a:pt x="315" y="260"/>
                  </a:cubicBezTo>
                  <a:cubicBezTo>
                    <a:pt x="304" y="248"/>
                    <a:pt x="285" y="219"/>
                    <a:pt x="281" y="211"/>
                  </a:cubicBezTo>
                  <a:cubicBezTo>
                    <a:pt x="278" y="202"/>
                    <a:pt x="275" y="194"/>
                    <a:pt x="282" y="184"/>
                  </a:cubicBezTo>
                  <a:cubicBezTo>
                    <a:pt x="286" y="179"/>
                    <a:pt x="288" y="174"/>
                    <a:pt x="289" y="170"/>
                  </a:cubicBezTo>
                  <a:cubicBezTo>
                    <a:pt x="291" y="165"/>
                    <a:pt x="292" y="160"/>
                    <a:pt x="292" y="153"/>
                  </a:cubicBezTo>
                  <a:cubicBezTo>
                    <a:pt x="293" y="147"/>
                    <a:pt x="291" y="141"/>
                    <a:pt x="289" y="137"/>
                  </a:cubicBezTo>
                  <a:cubicBezTo>
                    <a:pt x="287" y="133"/>
                    <a:pt x="284" y="130"/>
                    <a:pt x="281" y="127"/>
                  </a:cubicBezTo>
                  <a:cubicBezTo>
                    <a:pt x="289" y="110"/>
                    <a:pt x="291" y="84"/>
                    <a:pt x="279" y="77"/>
                  </a:cubicBezTo>
                  <a:cubicBezTo>
                    <a:pt x="274" y="73"/>
                    <a:pt x="274" y="73"/>
                    <a:pt x="274" y="73"/>
                  </a:cubicBezTo>
                  <a:cubicBezTo>
                    <a:pt x="272" y="79"/>
                    <a:pt x="272" y="79"/>
                    <a:pt x="272" y="79"/>
                  </a:cubicBezTo>
                  <a:cubicBezTo>
                    <a:pt x="272" y="81"/>
                    <a:pt x="271" y="83"/>
                    <a:pt x="269" y="86"/>
                  </a:cubicBezTo>
                  <a:cubicBezTo>
                    <a:pt x="268" y="87"/>
                    <a:pt x="267" y="89"/>
                    <a:pt x="266" y="91"/>
                  </a:cubicBezTo>
                  <a:cubicBezTo>
                    <a:pt x="264" y="94"/>
                    <a:pt x="260" y="97"/>
                    <a:pt x="256" y="100"/>
                  </a:cubicBezTo>
                  <a:cubicBezTo>
                    <a:pt x="255" y="101"/>
                    <a:pt x="254" y="103"/>
                    <a:pt x="253" y="104"/>
                  </a:cubicBezTo>
                  <a:cubicBezTo>
                    <a:pt x="246" y="99"/>
                    <a:pt x="233" y="95"/>
                    <a:pt x="225" y="99"/>
                  </a:cubicBezTo>
                  <a:cubicBezTo>
                    <a:pt x="221" y="101"/>
                    <a:pt x="218" y="105"/>
                    <a:pt x="215" y="109"/>
                  </a:cubicBezTo>
                  <a:cubicBezTo>
                    <a:pt x="209" y="87"/>
                    <a:pt x="194" y="74"/>
                    <a:pt x="170" y="74"/>
                  </a:cubicBezTo>
                  <a:cubicBezTo>
                    <a:pt x="169" y="72"/>
                    <a:pt x="167" y="70"/>
                    <a:pt x="165" y="68"/>
                  </a:cubicBezTo>
                  <a:cubicBezTo>
                    <a:pt x="159" y="61"/>
                    <a:pt x="145" y="54"/>
                    <a:pt x="133" y="53"/>
                  </a:cubicBezTo>
                  <a:cubicBezTo>
                    <a:pt x="132" y="53"/>
                    <a:pt x="132" y="53"/>
                    <a:pt x="132" y="53"/>
                  </a:cubicBezTo>
                  <a:cubicBezTo>
                    <a:pt x="129" y="52"/>
                    <a:pt x="124" y="52"/>
                    <a:pt x="120" y="54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8" y="61"/>
                    <a:pt x="118" y="61"/>
                    <a:pt x="118" y="61"/>
                  </a:cubicBezTo>
                  <a:cubicBezTo>
                    <a:pt x="120" y="64"/>
                    <a:pt x="128" y="75"/>
                    <a:pt x="132" y="88"/>
                  </a:cubicBezTo>
                  <a:cubicBezTo>
                    <a:pt x="122" y="92"/>
                    <a:pt x="111" y="105"/>
                    <a:pt x="110" y="116"/>
                  </a:cubicBezTo>
                  <a:cubicBezTo>
                    <a:pt x="110" y="126"/>
                    <a:pt x="110" y="137"/>
                    <a:pt x="110" y="147"/>
                  </a:cubicBezTo>
                  <a:cubicBezTo>
                    <a:pt x="100" y="150"/>
                    <a:pt x="92" y="156"/>
                    <a:pt x="87" y="164"/>
                  </a:cubicBezTo>
                  <a:cubicBezTo>
                    <a:pt x="79" y="164"/>
                    <a:pt x="73" y="166"/>
                    <a:pt x="68" y="169"/>
                  </a:cubicBezTo>
                  <a:cubicBezTo>
                    <a:pt x="65" y="171"/>
                    <a:pt x="56" y="177"/>
                    <a:pt x="52" y="182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5" y="189"/>
                    <a:pt x="55" y="189"/>
                    <a:pt x="55" y="189"/>
                  </a:cubicBezTo>
                  <a:cubicBezTo>
                    <a:pt x="71" y="200"/>
                    <a:pt x="74" y="202"/>
                    <a:pt x="75" y="202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74" y="222"/>
                    <a:pt x="79" y="231"/>
                    <a:pt x="89" y="243"/>
                  </a:cubicBezTo>
                  <a:cubicBezTo>
                    <a:pt x="97" y="252"/>
                    <a:pt x="121" y="256"/>
                    <a:pt x="135" y="252"/>
                  </a:cubicBezTo>
                  <a:cubicBezTo>
                    <a:pt x="137" y="251"/>
                    <a:pt x="140" y="249"/>
                    <a:pt x="143" y="247"/>
                  </a:cubicBezTo>
                  <a:cubicBezTo>
                    <a:pt x="144" y="251"/>
                    <a:pt x="147" y="254"/>
                    <a:pt x="150" y="258"/>
                  </a:cubicBezTo>
                  <a:cubicBezTo>
                    <a:pt x="153" y="262"/>
                    <a:pt x="159" y="264"/>
                    <a:pt x="166" y="269"/>
                  </a:cubicBezTo>
                  <a:cubicBezTo>
                    <a:pt x="145" y="279"/>
                    <a:pt x="144" y="295"/>
                    <a:pt x="146" y="315"/>
                  </a:cubicBezTo>
                  <a:cubicBezTo>
                    <a:pt x="144" y="318"/>
                    <a:pt x="139" y="322"/>
                    <a:pt x="135" y="324"/>
                  </a:cubicBezTo>
                  <a:cubicBezTo>
                    <a:pt x="130" y="327"/>
                    <a:pt x="125" y="328"/>
                    <a:pt x="124" y="329"/>
                  </a:cubicBezTo>
                  <a:cubicBezTo>
                    <a:pt x="115" y="330"/>
                    <a:pt x="115" y="330"/>
                    <a:pt x="115" y="330"/>
                  </a:cubicBezTo>
                  <a:cubicBezTo>
                    <a:pt x="122" y="336"/>
                    <a:pt x="122" y="336"/>
                    <a:pt x="122" y="336"/>
                  </a:cubicBezTo>
                  <a:cubicBezTo>
                    <a:pt x="124" y="338"/>
                    <a:pt x="138" y="347"/>
                    <a:pt x="153" y="349"/>
                  </a:cubicBezTo>
                  <a:cubicBezTo>
                    <a:pt x="155" y="349"/>
                    <a:pt x="158" y="349"/>
                    <a:pt x="161" y="349"/>
                  </a:cubicBezTo>
                  <a:cubicBezTo>
                    <a:pt x="163" y="349"/>
                    <a:pt x="164" y="349"/>
                    <a:pt x="166" y="349"/>
                  </a:cubicBezTo>
                  <a:cubicBezTo>
                    <a:pt x="170" y="352"/>
                    <a:pt x="174" y="356"/>
                    <a:pt x="180" y="357"/>
                  </a:cubicBezTo>
                  <a:cubicBezTo>
                    <a:pt x="189" y="357"/>
                    <a:pt x="197" y="355"/>
                    <a:pt x="202" y="352"/>
                  </a:cubicBezTo>
                  <a:cubicBezTo>
                    <a:pt x="206" y="348"/>
                    <a:pt x="210" y="341"/>
                    <a:pt x="215" y="336"/>
                  </a:cubicBezTo>
                  <a:cubicBezTo>
                    <a:pt x="222" y="345"/>
                    <a:pt x="233" y="354"/>
                    <a:pt x="234" y="362"/>
                  </a:cubicBezTo>
                  <a:cubicBezTo>
                    <a:pt x="234" y="368"/>
                    <a:pt x="236" y="378"/>
                    <a:pt x="228" y="381"/>
                  </a:cubicBezTo>
                  <a:cubicBezTo>
                    <a:pt x="218" y="384"/>
                    <a:pt x="214" y="374"/>
                    <a:pt x="209" y="372"/>
                  </a:cubicBezTo>
                  <a:cubicBezTo>
                    <a:pt x="205" y="382"/>
                    <a:pt x="207" y="388"/>
                    <a:pt x="210" y="396"/>
                  </a:cubicBezTo>
                  <a:cubicBezTo>
                    <a:pt x="213" y="403"/>
                    <a:pt x="232" y="415"/>
                    <a:pt x="238" y="415"/>
                  </a:cubicBezTo>
                  <a:cubicBezTo>
                    <a:pt x="228" y="423"/>
                    <a:pt x="224" y="436"/>
                    <a:pt x="222" y="451"/>
                  </a:cubicBezTo>
                  <a:cubicBezTo>
                    <a:pt x="219" y="465"/>
                    <a:pt x="217" y="476"/>
                    <a:pt x="228" y="468"/>
                  </a:cubicBezTo>
                  <a:cubicBezTo>
                    <a:pt x="248" y="454"/>
                    <a:pt x="244" y="453"/>
                    <a:pt x="257" y="469"/>
                  </a:cubicBezTo>
                  <a:cubicBezTo>
                    <a:pt x="263" y="476"/>
                    <a:pt x="271" y="484"/>
                    <a:pt x="278" y="490"/>
                  </a:cubicBezTo>
                  <a:cubicBezTo>
                    <a:pt x="284" y="494"/>
                    <a:pt x="297" y="496"/>
                    <a:pt x="301" y="497"/>
                  </a:cubicBezTo>
                  <a:cubicBezTo>
                    <a:pt x="299" y="502"/>
                    <a:pt x="296" y="513"/>
                    <a:pt x="295" y="522"/>
                  </a:cubicBezTo>
                  <a:cubicBezTo>
                    <a:pt x="294" y="527"/>
                    <a:pt x="292" y="565"/>
                    <a:pt x="300" y="550"/>
                  </a:cubicBezTo>
                  <a:cubicBezTo>
                    <a:pt x="303" y="545"/>
                    <a:pt x="310" y="539"/>
                    <a:pt x="316" y="538"/>
                  </a:cubicBezTo>
                  <a:cubicBezTo>
                    <a:pt x="327" y="534"/>
                    <a:pt x="339" y="529"/>
                    <a:pt x="341" y="532"/>
                  </a:cubicBezTo>
                  <a:cubicBezTo>
                    <a:pt x="335" y="544"/>
                    <a:pt x="330" y="550"/>
                    <a:pt x="330" y="566"/>
                  </a:cubicBezTo>
                  <a:cubicBezTo>
                    <a:pt x="330" y="570"/>
                    <a:pt x="331" y="578"/>
                    <a:pt x="332" y="581"/>
                  </a:cubicBezTo>
                  <a:cubicBezTo>
                    <a:pt x="333" y="586"/>
                    <a:pt x="334" y="589"/>
                    <a:pt x="334" y="590"/>
                  </a:cubicBezTo>
                  <a:cubicBezTo>
                    <a:pt x="334" y="591"/>
                    <a:pt x="336" y="595"/>
                    <a:pt x="336" y="596"/>
                  </a:cubicBezTo>
                  <a:cubicBezTo>
                    <a:pt x="316" y="605"/>
                    <a:pt x="268" y="637"/>
                    <a:pt x="251" y="647"/>
                  </a:cubicBezTo>
                  <a:cubicBezTo>
                    <a:pt x="228" y="660"/>
                    <a:pt x="193" y="684"/>
                    <a:pt x="161" y="673"/>
                  </a:cubicBezTo>
                  <a:cubicBezTo>
                    <a:pt x="146" y="669"/>
                    <a:pt x="147" y="650"/>
                    <a:pt x="121" y="647"/>
                  </a:cubicBezTo>
                  <a:cubicBezTo>
                    <a:pt x="120" y="644"/>
                    <a:pt x="119" y="641"/>
                    <a:pt x="116" y="638"/>
                  </a:cubicBezTo>
                  <a:cubicBezTo>
                    <a:pt x="103" y="624"/>
                    <a:pt x="72" y="627"/>
                    <a:pt x="67" y="629"/>
                  </a:cubicBezTo>
                  <a:cubicBezTo>
                    <a:pt x="61" y="630"/>
                    <a:pt x="61" y="630"/>
                    <a:pt x="61" y="630"/>
                  </a:cubicBezTo>
                  <a:cubicBezTo>
                    <a:pt x="65" y="636"/>
                    <a:pt x="65" y="636"/>
                    <a:pt x="65" y="636"/>
                  </a:cubicBezTo>
                  <a:cubicBezTo>
                    <a:pt x="66" y="637"/>
                    <a:pt x="66" y="637"/>
                    <a:pt x="67" y="638"/>
                  </a:cubicBezTo>
                  <a:cubicBezTo>
                    <a:pt x="68" y="639"/>
                    <a:pt x="69" y="640"/>
                    <a:pt x="74" y="648"/>
                  </a:cubicBezTo>
                  <a:cubicBezTo>
                    <a:pt x="75" y="650"/>
                    <a:pt x="76" y="652"/>
                    <a:pt x="77" y="655"/>
                  </a:cubicBezTo>
                  <a:cubicBezTo>
                    <a:pt x="77" y="655"/>
                    <a:pt x="77" y="656"/>
                    <a:pt x="78" y="656"/>
                  </a:cubicBezTo>
                  <a:cubicBezTo>
                    <a:pt x="56" y="663"/>
                    <a:pt x="45" y="690"/>
                    <a:pt x="60" y="703"/>
                  </a:cubicBezTo>
                  <a:cubicBezTo>
                    <a:pt x="51" y="705"/>
                    <a:pt x="44" y="711"/>
                    <a:pt x="38" y="719"/>
                  </a:cubicBezTo>
                  <a:cubicBezTo>
                    <a:pt x="35" y="723"/>
                    <a:pt x="34" y="728"/>
                    <a:pt x="34" y="731"/>
                  </a:cubicBezTo>
                  <a:cubicBezTo>
                    <a:pt x="34" y="731"/>
                    <a:pt x="34" y="732"/>
                    <a:pt x="35" y="732"/>
                  </a:cubicBezTo>
                  <a:cubicBezTo>
                    <a:pt x="32" y="733"/>
                    <a:pt x="30" y="733"/>
                    <a:pt x="28" y="735"/>
                  </a:cubicBezTo>
                  <a:cubicBezTo>
                    <a:pt x="19" y="740"/>
                    <a:pt x="6" y="755"/>
                    <a:pt x="3" y="765"/>
                  </a:cubicBezTo>
                  <a:cubicBezTo>
                    <a:pt x="2" y="768"/>
                    <a:pt x="0" y="776"/>
                    <a:pt x="0" y="781"/>
                  </a:cubicBezTo>
                  <a:cubicBezTo>
                    <a:pt x="0" y="789"/>
                    <a:pt x="0" y="789"/>
                    <a:pt x="0" y="789"/>
                  </a:cubicBezTo>
                  <a:cubicBezTo>
                    <a:pt x="7" y="784"/>
                    <a:pt x="7" y="784"/>
                    <a:pt x="7" y="784"/>
                  </a:cubicBezTo>
                  <a:cubicBezTo>
                    <a:pt x="13" y="781"/>
                    <a:pt x="27" y="777"/>
                    <a:pt x="40" y="777"/>
                  </a:cubicBezTo>
                  <a:cubicBezTo>
                    <a:pt x="40" y="787"/>
                    <a:pt x="45" y="792"/>
                    <a:pt x="53" y="797"/>
                  </a:cubicBezTo>
                  <a:cubicBezTo>
                    <a:pt x="57" y="800"/>
                    <a:pt x="66" y="802"/>
                    <a:pt x="69" y="803"/>
                  </a:cubicBezTo>
                  <a:cubicBezTo>
                    <a:pt x="73" y="804"/>
                    <a:pt x="76" y="805"/>
                    <a:pt x="78" y="807"/>
                  </a:cubicBezTo>
                  <a:cubicBezTo>
                    <a:pt x="79" y="815"/>
                    <a:pt x="83" y="823"/>
                    <a:pt x="89" y="830"/>
                  </a:cubicBezTo>
                  <a:cubicBezTo>
                    <a:pt x="87" y="848"/>
                    <a:pt x="98" y="868"/>
                    <a:pt x="101" y="872"/>
                  </a:cubicBezTo>
                  <a:cubicBezTo>
                    <a:pt x="107" y="877"/>
                    <a:pt x="107" y="877"/>
                    <a:pt x="107" y="877"/>
                  </a:cubicBezTo>
                  <a:cubicBezTo>
                    <a:pt x="109" y="870"/>
                    <a:pt x="109" y="870"/>
                    <a:pt x="109" y="870"/>
                  </a:cubicBezTo>
                  <a:cubicBezTo>
                    <a:pt x="109" y="867"/>
                    <a:pt x="110" y="866"/>
                    <a:pt x="117" y="855"/>
                  </a:cubicBezTo>
                  <a:cubicBezTo>
                    <a:pt x="118" y="854"/>
                    <a:pt x="120" y="852"/>
                    <a:pt x="122" y="850"/>
                  </a:cubicBezTo>
                  <a:cubicBezTo>
                    <a:pt x="123" y="849"/>
                    <a:pt x="123" y="849"/>
                    <a:pt x="124" y="848"/>
                  </a:cubicBezTo>
                  <a:cubicBezTo>
                    <a:pt x="125" y="849"/>
                    <a:pt x="132" y="852"/>
                    <a:pt x="134" y="852"/>
                  </a:cubicBezTo>
                  <a:cubicBezTo>
                    <a:pt x="136" y="852"/>
                    <a:pt x="143" y="852"/>
                    <a:pt x="147" y="851"/>
                  </a:cubicBezTo>
                  <a:cubicBezTo>
                    <a:pt x="157" y="850"/>
                    <a:pt x="165" y="847"/>
                    <a:pt x="172" y="841"/>
                  </a:cubicBezTo>
                  <a:cubicBezTo>
                    <a:pt x="187" y="825"/>
                    <a:pt x="190" y="820"/>
                    <a:pt x="190" y="796"/>
                  </a:cubicBezTo>
                  <a:cubicBezTo>
                    <a:pt x="196" y="796"/>
                    <a:pt x="202" y="796"/>
                    <a:pt x="208" y="795"/>
                  </a:cubicBezTo>
                  <a:cubicBezTo>
                    <a:pt x="215" y="794"/>
                    <a:pt x="219" y="792"/>
                    <a:pt x="224" y="789"/>
                  </a:cubicBezTo>
                  <a:cubicBezTo>
                    <a:pt x="224" y="790"/>
                    <a:pt x="224" y="791"/>
                    <a:pt x="224" y="792"/>
                  </a:cubicBezTo>
                  <a:cubicBezTo>
                    <a:pt x="228" y="798"/>
                    <a:pt x="233" y="802"/>
                    <a:pt x="235" y="804"/>
                  </a:cubicBezTo>
                  <a:cubicBezTo>
                    <a:pt x="238" y="807"/>
                    <a:pt x="247" y="811"/>
                    <a:pt x="252" y="812"/>
                  </a:cubicBezTo>
                  <a:cubicBezTo>
                    <a:pt x="253" y="816"/>
                    <a:pt x="253" y="820"/>
                    <a:pt x="253" y="825"/>
                  </a:cubicBezTo>
                  <a:cubicBezTo>
                    <a:pt x="253" y="830"/>
                    <a:pt x="253" y="830"/>
                    <a:pt x="253" y="830"/>
                  </a:cubicBezTo>
                  <a:cubicBezTo>
                    <a:pt x="253" y="830"/>
                    <a:pt x="253" y="830"/>
                    <a:pt x="253" y="830"/>
                  </a:cubicBezTo>
                  <a:cubicBezTo>
                    <a:pt x="253" y="830"/>
                    <a:pt x="253" y="831"/>
                    <a:pt x="253" y="832"/>
                  </a:cubicBezTo>
                  <a:cubicBezTo>
                    <a:pt x="252" y="838"/>
                    <a:pt x="252" y="838"/>
                    <a:pt x="252" y="838"/>
                  </a:cubicBezTo>
                  <a:cubicBezTo>
                    <a:pt x="258" y="837"/>
                    <a:pt x="258" y="837"/>
                    <a:pt x="258" y="837"/>
                  </a:cubicBezTo>
                  <a:cubicBezTo>
                    <a:pt x="259" y="836"/>
                    <a:pt x="260" y="836"/>
                    <a:pt x="261" y="836"/>
                  </a:cubicBezTo>
                  <a:cubicBezTo>
                    <a:pt x="267" y="835"/>
                    <a:pt x="276" y="833"/>
                    <a:pt x="283" y="821"/>
                  </a:cubicBezTo>
                  <a:cubicBezTo>
                    <a:pt x="285" y="819"/>
                    <a:pt x="286" y="816"/>
                    <a:pt x="288" y="811"/>
                  </a:cubicBezTo>
                  <a:cubicBezTo>
                    <a:pt x="294" y="807"/>
                    <a:pt x="301" y="806"/>
                    <a:pt x="306" y="797"/>
                  </a:cubicBezTo>
                  <a:cubicBezTo>
                    <a:pt x="310" y="789"/>
                    <a:pt x="310" y="779"/>
                    <a:pt x="309" y="770"/>
                  </a:cubicBezTo>
                  <a:cubicBezTo>
                    <a:pt x="309" y="763"/>
                    <a:pt x="313" y="765"/>
                    <a:pt x="319" y="764"/>
                  </a:cubicBezTo>
                  <a:cubicBezTo>
                    <a:pt x="336" y="760"/>
                    <a:pt x="342" y="757"/>
                    <a:pt x="347" y="760"/>
                  </a:cubicBezTo>
                  <a:cubicBezTo>
                    <a:pt x="356" y="765"/>
                    <a:pt x="353" y="784"/>
                    <a:pt x="344" y="789"/>
                  </a:cubicBezTo>
                  <a:cubicBezTo>
                    <a:pt x="345" y="790"/>
                    <a:pt x="356" y="785"/>
                    <a:pt x="359" y="783"/>
                  </a:cubicBezTo>
                  <a:cubicBezTo>
                    <a:pt x="371" y="776"/>
                    <a:pt x="373" y="764"/>
                    <a:pt x="377" y="764"/>
                  </a:cubicBezTo>
                  <a:cubicBezTo>
                    <a:pt x="379" y="764"/>
                    <a:pt x="379" y="764"/>
                    <a:pt x="381" y="765"/>
                  </a:cubicBezTo>
                  <a:cubicBezTo>
                    <a:pt x="383" y="766"/>
                    <a:pt x="383" y="769"/>
                    <a:pt x="383" y="772"/>
                  </a:cubicBezTo>
                  <a:cubicBezTo>
                    <a:pt x="382" y="774"/>
                    <a:pt x="382" y="778"/>
                    <a:pt x="383" y="782"/>
                  </a:cubicBezTo>
                  <a:cubicBezTo>
                    <a:pt x="385" y="797"/>
                    <a:pt x="401" y="822"/>
                    <a:pt x="408" y="821"/>
                  </a:cubicBezTo>
                  <a:cubicBezTo>
                    <a:pt x="409" y="811"/>
                    <a:pt x="409" y="813"/>
                    <a:pt x="409" y="806"/>
                  </a:cubicBezTo>
                  <a:cubicBezTo>
                    <a:pt x="409" y="801"/>
                    <a:pt x="409" y="798"/>
                    <a:pt x="409" y="793"/>
                  </a:cubicBezTo>
                  <a:cubicBezTo>
                    <a:pt x="410" y="788"/>
                    <a:pt x="410" y="781"/>
                    <a:pt x="413" y="778"/>
                  </a:cubicBezTo>
                  <a:cubicBezTo>
                    <a:pt x="417" y="773"/>
                    <a:pt x="427" y="768"/>
                    <a:pt x="431" y="765"/>
                  </a:cubicBezTo>
                  <a:cubicBezTo>
                    <a:pt x="435" y="762"/>
                    <a:pt x="445" y="754"/>
                    <a:pt x="445" y="753"/>
                  </a:cubicBezTo>
                  <a:cubicBezTo>
                    <a:pt x="448" y="761"/>
                    <a:pt x="452" y="769"/>
                    <a:pt x="459" y="775"/>
                  </a:cubicBezTo>
                  <a:cubicBezTo>
                    <a:pt x="462" y="778"/>
                    <a:pt x="481" y="794"/>
                    <a:pt x="484" y="785"/>
                  </a:cubicBezTo>
                  <a:cubicBezTo>
                    <a:pt x="475" y="767"/>
                    <a:pt x="475" y="748"/>
                    <a:pt x="481" y="743"/>
                  </a:cubicBezTo>
                  <a:cubicBezTo>
                    <a:pt x="486" y="739"/>
                    <a:pt x="491" y="736"/>
                    <a:pt x="496" y="732"/>
                  </a:cubicBezTo>
                  <a:cubicBezTo>
                    <a:pt x="507" y="746"/>
                    <a:pt x="556" y="782"/>
                    <a:pt x="571" y="791"/>
                  </a:cubicBezTo>
                  <a:cubicBezTo>
                    <a:pt x="579" y="795"/>
                    <a:pt x="633" y="838"/>
                    <a:pt x="638" y="842"/>
                  </a:cubicBezTo>
                  <a:cubicBezTo>
                    <a:pt x="626" y="841"/>
                    <a:pt x="610" y="840"/>
                    <a:pt x="602" y="840"/>
                  </a:cubicBezTo>
                  <a:cubicBezTo>
                    <a:pt x="596" y="840"/>
                    <a:pt x="606" y="847"/>
                    <a:pt x="615" y="856"/>
                  </a:cubicBezTo>
                  <a:cubicBezTo>
                    <a:pt x="624" y="864"/>
                    <a:pt x="634" y="874"/>
                    <a:pt x="636" y="877"/>
                  </a:cubicBezTo>
                  <a:cubicBezTo>
                    <a:pt x="642" y="884"/>
                    <a:pt x="654" y="895"/>
                    <a:pt x="657" y="905"/>
                  </a:cubicBezTo>
                  <a:cubicBezTo>
                    <a:pt x="657" y="905"/>
                    <a:pt x="657" y="906"/>
                    <a:pt x="657" y="906"/>
                  </a:cubicBezTo>
                  <a:cubicBezTo>
                    <a:pt x="654" y="906"/>
                    <a:pt x="651" y="905"/>
                    <a:pt x="650" y="905"/>
                  </a:cubicBezTo>
                  <a:cubicBezTo>
                    <a:pt x="645" y="904"/>
                    <a:pt x="634" y="903"/>
                    <a:pt x="629" y="902"/>
                  </a:cubicBezTo>
                  <a:cubicBezTo>
                    <a:pt x="617" y="901"/>
                    <a:pt x="602" y="900"/>
                    <a:pt x="590" y="900"/>
                  </a:cubicBezTo>
                  <a:cubicBezTo>
                    <a:pt x="565" y="899"/>
                    <a:pt x="540" y="902"/>
                    <a:pt x="517" y="905"/>
                  </a:cubicBezTo>
                  <a:cubicBezTo>
                    <a:pt x="497" y="906"/>
                    <a:pt x="469" y="916"/>
                    <a:pt x="450" y="908"/>
                  </a:cubicBezTo>
                  <a:cubicBezTo>
                    <a:pt x="441" y="904"/>
                    <a:pt x="429" y="898"/>
                    <a:pt x="429" y="886"/>
                  </a:cubicBezTo>
                  <a:cubicBezTo>
                    <a:pt x="429" y="878"/>
                    <a:pt x="437" y="875"/>
                    <a:pt x="443" y="871"/>
                  </a:cubicBezTo>
                  <a:cubicBezTo>
                    <a:pt x="436" y="867"/>
                    <a:pt x="423" y="867"/>
                    <a:pt x="414" y="869"/>
                  </a:cubicBezTo>
                  <a:cubicBezTo>
                    <a:pt x="408" y="870"/>
                    <a:pt x="402" y="872"/>
                    <a:pt x="395" y="876"/>
                  </a:cubicBezTo>
                  <a:cubicBezTo>
                    <a:pt x="387" y="880"/>
                    <a:pt x="374" y="896"/>
                    <a:pt x="374" y="904"/>
                  </a:cubicBezTo>
                  <a:cubicBezTo>
                    <a:pt x="374" y="910"/>
                    <a:pt x="375" y="918"/>
                    <a:pt x="374" y="919"/>
                  </a:cubicBezTo>
                  <a:cubicBezTo>
                    <a:pt x="373" y="920"/>
                    <a:pt x="371" y="919"/>
                    <a:pt x="368" y="918"/>
                  </a:cubicBezTo>
                  <a:cubicBezTo>
                    <a:pt x="360" y="917"/>
                    <a:pt x="348" y="918"/>
                    <a:pt x="338" y="918"/>
                  </a:cubicBezTo>
                  <a:cubicBezTo>
                    <a:pt x="322" y="919"/>
                    <a:pt x="305" y="929"/>
                    <a:pt x="292" y="937"/>
                  </a:cubicBezTo>
                  <a:cubicBezTo>
                    <a:pt x="286" y="940"/>
                    <a:pt x="247" y="973"/>
                    <a:pt x="244" y="985"/>
                  </a:cubicBezTo>
                  <a:cubicBezTo>
                    <a:pt x="244" y="986"/>
                    <a:pt x="245" y="990"/>
                    <a:pt x="247" y="989"/>
                  </a:cubicBezTo>
                  <a:cubicBezTo>
                    <a:pt x="272" y="977"/>
                    <a:pt x="309" y="975"/>
                    <a:pt x="338" y="981"/>
                  </a:cubicBezTo>
                  <a:cubicBezTo>
                    <a:pt x="357" y="985"/>
                    <a:pt x="377" y="985"/>
                    <a:pt x="394" y="988"/>
                  </a:cubicBezTo>
                  <a:cubicBezTo>
                    <a:pt x="398" y="994"/>
                    <a:pt x="389" y="1002"/>
                    <a:pt x="385" y="1010"/>
                  </a:cubicBezTo>
                  <a:cubicBezTo>
                    <a:pt x="382" y="1017"/>
                    <a:pt x="376" y="1033"/>
                    <a:pt x="373" y="1041"/>
                  </a:cubicBezTo>
                  <a:cubicBezTo>
                    <a:pt x="369" y="1055"/>
                    <a:pt x="368" y="1069"/>
                    <a:pt x="362" y="1088"/>
                  </a:cubicBezTo>
                  <a:cubicBezTo>
                    <a:pt x="357" y="1102"/>
                    <a:pt x="342" y="1111"/>
                    <a:pt x="315" y="1115"/>
                  </a:cubicBezTo>
                  <a:cubicBezTo>
                    <a:pt x="304" y="1116"/>
                    <a:pt x="296" y="1116"/>
                    <a:pt x="287" y="1116"/>
                  </a:cubicBezTo>
                  <a:cubicBezTo>
                    <a:pt x="273" y="1115"/>
                    <a:pt x="264" y="1116"/>
                    <a:pt x="263" y="1102"/>
                  </a:cubicBezTo>
                  <a:cubicBezTo>
                    <a:pt x="262" y="1092"/>
                    <a:pt x="260" y="1078"/>
                    <a:pt x="254" y="1069"/>
                  </a:cubicBezTo>
                  <a:cubicBezTo>
                    <a:pt x="248" y="1059"/>
                    <a:pt x="240" y="1052"/>
                    <a:pt x="230" y="1052"/>
                  </a:cubicBezTo>
                  <a:cubicBezTo>
                    <a:pt x="221" y="1035"/>
                    <a:pt x="195" y="1023"/>
                    <a:pt x="189" y="1022"/>
                  </a:cubicBezTo>
                  <a:cubicBezTo>
                    <a:pt x="183" y="1021"/>
                    <a:pt x="183" y="1021"/>
                    <a:pt x="183" y="1021"/>
                  </a:cubicBezTo>
                  <a:cubicBezTo>
                    <a:pt x="184" y="1028"/>
                    <a:pt x="184" y="1028"/>
                    <a:pt x="184" y="1028"/>
                  </a:cubicBezTo>
                  <a:cubicBezTo>
                    <a:pt x="185" y="1031"/>
                    <a:pt x="185" y="1033"/>
                    <a:pt x="186" y="1035"/>
                  </a:cubicBezTo>
                  <a:cubicBezTo>
                    <a:pt x="186" y="1038"/>
                    <a:pt x="186" y="1038"/>
                    <a:pt x="186" y="1039"/>
                  </a:cubicBezTo>
                  <a:cubicBezTo>
                    <a:pt x="186" y="1040"/>
                    <a:pt x="186" y="1041"/>
                    <a:pt x="186" y="1043"/>
                  </a:cubicBezTo>
                  <a:cubicBezTo>
                    <a:pt x="186" y="1044"/>
                    <a:pt x="186" y="1044"/>
                    <a:pt x="186" y="1044"/>
                  </a:cubicBezTo>
                  <a:cubicBezTo>
                    <a:pt x="187" y="1049"/>
                    <a:pt x="187" y="1052"/>
                    <a:pt x="186" y="1060"/>
                  </a:cubicBezTo>
                  <a:cubicBezTo>
                    <a:pt x="184" y="1062"/>
                    <a:pt x="181" y="1064"/>
                    <a:pt x="179" y="1065"/>
                  </a:cubicBezTo>
                  <a:cubicBezTo>
                    <a:pt x="176" y="1068"/>
                    <a:pt x="173" y="1074"/>
                    <a:pt x="171" y="1077"/>
                  </a:cubicBezTo>
                  <a:cubicBezTo>
                    <a:pt x="170" y="1079"/>
                    <a:pt x="169" y="1081"/>
                    <a:pt x="168" y="1086"/>
                  </a:cubicBezTo>
                  <a:cubicBezTo>
                    <a:pt x="162" y="1084"/>
                    <a:pt x="158" y="1082"/>
                    <a:pt x="154" y="1082"/>
                  </a:cubicBezTo>
                  <a:cubicBezTo>
                    <a:pt x="139" y="1083"/>
                    <a:pt x="134" y="1088"/>
                    <a:pt x="126" y="1098"/>
                  </a:cubicBezTo>
                  <a:cubicBezTo>
                    <a:pt x="126" y="1098"/>
                    <a:pt x="126" y="1098"/>
                    <a:pt x="126" y="1098"/>
                  </a:cubicBezTo>
                  <a:cubicBezTo>
                    <a:pt x="117" y="1097"/>
                    <a:pt x="99" y="1103"/>
                    <a:pt x="91" y="1109"/>
                  </a:cubicBezTo>
                  <a:cubicBezTo>
                    <a:pt x="89" y="1111"/>
                    <a:pt x="86" y="1114"/>
                    <a:pt x="84" y="1118"/>
                  </a:cubicBezTo>
                  <a:cubicBezTo>
                    <a:pt x="80" y="1124"/>
                    <a:pt x="80" y="1124"/>
                    <a:pt x="80" y="1124"/>
                  </a:cubicBezTo>
                  <a:cubicBezTo>
                    <a:pt x="87" y="1125"/>
                    <a:pt x="87" y="1125"/>
                    <a:pt x="87" y="1125"/>
                  </a:cubicBezTo>
                  <a:cubicBezTo>
                    <a:pt x="97" y="1125"/>
                    <a:pt x="103" y="1127"/>
                    <a:pt x="112" y="1133"/>
                  </a:cubicBezTo>
                  <a:cubicBezTo>
                    <a:pt x="111" y="1143"/>
                    <a:pt x="112" y="1156"/>
                    <a:pt x="118" y="1167"/>
                  </a:cubicBezTo>
                  <a:cubicBezTo>
                    <a:pt x="124" y="1179"/>
                    <a:pt x="133" y="1187"/>
                    <a:pt x="152" y="1185"/>
                  </a:cubicBezTo>
                  <a:cubicBezTo>
                    <a:pt x="150" y="1190"/>
                    <a:pt x="148" y="1194"/>
                    <a:pt x="147" y="1197"/>
                  </a:cubicBezTo>
                  <a:cubicBezTo>
                    <a:pt x="147" y="1206"/>
                    <a:pt x="148" y="1212"/>
                    <a:pt x="150" y="1218"/>
                  </a:cubicBezTo>
                  <a:cubicBezTo>
                    <a:pt x="145" y="1232"/>
                    <a:pt x="147" y="1248"/>
                    <a:pt x="147" y="1252"/>
                  </a:cubicBezTo>
                  <a:cubicBezTo>
                    <a:pt x="148" y="1259"/>
                    <a:pt x="148" y="1259"/>
                    <a:pt x="148" y="1259"/>
                  </a:cubicBezTo>
                  <a:cubicBezTo>
                    <a:pt x="154" y="1255"/>
                    <a:pt x="154" y="1255"/>
                    <a:pt x="154" y="1255"/>
                  </a:cubicBezTo>
                  <a:cubicBezTo>
                    <a:pt x="157" y="1253"/>
                    <a:pt x="158" y="1252"/>
                    <a:pt x="169" y="1247"/>
                  </a:cubicBezTo>
                  <a:cubicBezTo>
                    <a:pt x="170" y="1246"/>
                    <a:pt x="171" y="1246"/>
                    <a:pt x="171" y="1246"/>
                  </a:cubicBezTo>
                  <a:cubicBezTo>
                    <a:pt x="181" y="1260"/>
                    <a:pt x="205" y="1262"/>
                    <a:pt x="220" y="1252"/>
                  </a:cubicBezTo>
                  <a:cubicBezTo>
                    <a:pt x="227" y="1247"/>
                    <a:pt x="232" y="1235"/>
                    <a:pt x="239" y="1230"/>
                  </a:cubicBezTo>
                  <a:cubicBezTo>
                    <a:pt x="246" y="1226"/>
                    <a:pt x="254" y="1225"/>
                    <a:pt x="262" y="1227"/>
                  </a:cubicBezTo>
                  <a:cubicBezTo>
                    <a:pt x="261" y="1229"/>
                    <a:pt x="262" y="1231"/>
                    <a:pt x="262" y="1233"/>
                  </a:cubicBezTo>
                  <a:cubicBezTo>
                    <a:pt x="263" y="1237"/>
                    <a:pt x="265" y="1243"/>
                    <a:pt x="268" y="1246"/>
                  </a:cubicBezTo>
                  <a:cubicBezTo>
                    <a:pt x="271" y="1249"/>
                    <a:pt x="277" y="1254"/>
                    <a:pt x="281" y="1257"/>
                  </a:cubicBezTo>
                  <a:cubicBezTo>
                    <a:pt x="281" y="1259"/>
                    <a:pt x="280" y="1260"/>
                    <a:pt x="281" y="1262"/>
                  </a:cubicBezTo>
                  <a:cubicBezTo>
                    <a:pt x="282" y="1267"/>
                    <a:pt x="281" y="1273"/>
                    <a:pt x="280" y="1278"/>
                  </a:cubicBezTo>
                  <a:cubicBezTo>
                    <a:pt x="279" y="1279"/>
                    <a:pt x="279" y="1279"/>
                    <a:pt x="279" y="1279"/>
                  </a:cubicBezTo>
                  <a:cubicBezTo>
                    <a:pt x="279" y="1281"/>
                    <a:pt x="279" y="1283"/>
                    <a:pt x="278" y="1283"/>
                  </a:cubicBezTo>
                  <a:cubicBezTo>
                    <a:pt x="278" y="1284"/>
                    <a:pt x="278" y="1285"/>
                    <a:pt x="277" y="1286"/>
                  </a:cubicBezTo>
                  <a:cubicBezTo>
                    <a:pt x="274" y="1293"/>
                    <a:pt x="274" y="1293"/>
                    <a:pt x="274" y="1293"/>
                  </a:cubicBezTo>
                  <a:cubicBezTo>
                    <a:pt x="281" y="1292"/>
                    <a:pt x="281" y="1292"/>
                    <a:pt x="281" y="1292"/>
                  </a:cubicBezTo>
                  <a:cubicBezTo>
                    <a:pt x="289" y="1292"/>
                    <a:pt x="300" y="1289"/>
                    <a:pt x="310" y="1277"/>
                  </a:cubicBezTo>
                  <a:cubicBezTo>
                    <a:pt x="312" y="1275"/>
                    <a:pt x="315" y="1271"/>
                    <a:pt x="317" y="1267"/>
                  </a:cubicBezTo>
                  <a:cubicBezTo>
                    <a:pt x="334" y="1266"/>
                    <a:pt x="345" y="1246"/>
                    <a:pt x="346" y="1231"/>
                  </a:cubicBezTo>
                  <a:cubicBezTo>
                    <a:pt x="351" y="1231"/>
                    <a:pt x="354" y="1229"/>
                    <a:pt x="358" y="1227"/>
                  </a:cubicBezTo>
                  <a:cubicBezTo>
                    <a:pt x="370" y="1248"/>
                    <a:pt x="395" y="1271"/>
                    <a:pt x="421" y="1272"/>
                  </a:cubicBezTo>
                  <a:cubicBezTo>
                    <a:pt x="415" y="1264"/>
                    <a:pt x="401" y="1246"/>
                    <a:pt x="401" y="1236"/>
                  </a:cubicBezTo>
                  <a:cubicBezTo>
                    <a:pt x="407" y="1239"/>
                    <a:pt x="413" y="1244"/>
                    <a:pt x="421" y="1247"/>
                  </a:cubicBezTo>
                  <a:cubicBezTo>
                    <a:pt x="427" y="1250"/>
                    <a:pt x="433" y="1250"/>
                    <a:pt x="440" y="1249"/>
                  </a:cubicBezTo>
                  <a:cubicBezTo>
                    <a:pt x="444" y="1249"/>
                    <a:pt x="450" y="1246"/>
                    <a:pt x="453" y="1245"/>
                  </a:cubicBezTo>
                  <a:cubicBezTo>
                    <a:pt x="448" y="1240"/>
                    <a:pt x="445" y="1238"/>
                    <a:pt x="443" y="1236"/>
                  </a:cubicBezTo>
                  <a:cubicBezTo>
                    <a:pt x="439" y="1233"/>
                    <a:pt x="435" y="1229"/>
                    <a:pt x="431" y="1225"/>
                  </a:cubicBezTo>
                  <a:cubicBezTo>
                    <a:pt x="430" y="1224"/>
                    <a:pt x="426" y="1219"/>
                    <a:pt x="426" y="1218"/>
                  </a:cubicBezTo>
                  <a:cubicBezTo>
                    <a:pt x="437" y="1215"/>
                    <a:pt x="465" y="1216"/>
                    <a:pt x="480" y="1216"/>
                  </a:cubicBezTo>
                  <a:cubicBezTo>
                    <a:pt x="485" y="1215"/>
                    <a:pt x="490" y="1211"/>
                    <a:pt x="493" y="1211"/>
                  </a:cubicBezTo>
                  <a:cubicBezTo>
                    <a:pt x="499" y="1211"/>
                    <a:pt x="505" y="1211"/>
                    <a:pt x="511" y="1210"/>
                  </a:cubicBezTo>
                  <a:cubicBezTo>
                    <a:pt x="514" y="1210"/>
                    <a:pt x="517" y="1209"/>
                    <a:pt x="521" y="1208"/>
                  </a:cubicBezTo>
                  <a:cubicBezTo>
                    <a:pt x="523" y="1207"/>
                    <a:pt x="529" y="1206"/>
                    <a:pt x="532" y="1205"/>
                  </a:cubicBezTo>
                  <a:cubicBezTo>
                    <a:pt x="532" y="1200"/>
                    <a:pt x="524" y="1193"/>
                    <a:pt x="520" y="1189"/>
                  </a:cubicBezTo>
                  <a:cubicBezTo>
                    <a:pt x="512" y="1183"/>
                    <a:pt x="507" y="1172"/>
                    <a:pt x="506" y="1158"/>
                  </a:cubicBezTo>
                  <a:cubicBezTo>
                    <a:pt x="506" y="1151"/>
                    <a:pt x="506" y="1148"/>
                    <a:pt x="506" y="1142"/>
                  </a:cubicBezTo>
                  <a:cubicBezTo>
                    <a:pt x="506" y="1141"/>
                    <a:pt x="507" y="1136"/>
                    <a:pt x="507" y="1134"/>
                  </a:cubicBezTo>
                  <a:cubicBezTo>
                    <a:pt x="508" y="1131"/>
                    <a:pt x="509" y="1123"/>
                    <a:pt x="510" y="1120"/>
                  </a:cubicBezTo>
                  <a:cubicBezTo>
                    <a:pt x="512" y="1114"/>
                    <a:pt x="514" y="1104"/>
                    <a:pt x="515" y="1100"/>
                  </a:cubicBezTo>
                  <a:cubicBezTo>
                    <a:pt x="517" y="1092"/>
                    <a:pt x="517" y="1079"/>
                    <a:pt x="517" y="1074"/>
                  </a:cubicBezTo>
                  <a:cubicBezTo>
                    <a:pt x="558" y="1072"/>
                    <a:pt x="624" y="1065"/>
                    <a:pt x="661" y="1049"/>
                  </a:cubicBezTo>
                  <a:cubicBezTo>
                    <a:pt x="658" y="1066"/>
                    <a:pt x="654" y="1082"/>
                    <a:pt x="653" y="1090"/>
                  </a:cubicBezTo>
                  <a:cubicBezTo>
                    <a:pt x="649" y="1111"/>
                    <a:pt x="643" y="1136"/>
                    <a:pt x="631" y="1149"/>
                  </a:cubicBezTo>
                  <a:cubicBezTo>
                    <a:pt x="627" y="1155"/>
                    <a:pt x="609" y="1164"/>
                    <a:pt x="598" y="1164"/>
                  </a:cubicBezTo>
                  <a:cubicBezTo>
                    <a:pt x="589" y="1163"/>
                    <a:pt x="582" y="1145"/>
                    <a:pt x="574" y="1149"/>
                  </a:cubicBezTo>
                  <a:cubicBezTo>
                    <a:pt x="570" y="1176"/>
                    <a:pt x="578" y="1202"/>
                    <a:pt x="620" y="1203"/>
                  </a:cubicBezTo>
                  <a:cubicBezTo>
                    <a:pt x="625" y="1203"/>
                    <a:pt x="629" y="1201"/>
                    <a:pt x="631" y="1202"/>
                  </a:cubicBezTo>
                  <a:cubicBezTo>
                    <a:pt x="632" y="1204"/>
                    <a:pt x="627" y="1208"/>
                    <a:pt x="625" y="1213"/>
                  </a:cubicBezTo>
                  <a:cubicBezTo>
                    <a:pt x="617" y="1229"/>
                    <a:pt x="612" y="1279"/>
                    <a:pt x="624" y="1300"/>
                  </a:cubicBezTo>
                  <a:cubicBezTo>
                    <a:pt x="624" y="1301"/>
                    <a:pt x="651" y="1353"/>
                    <a:pt x="651" y="1326"/>
                  </a:cubicBezTo>
                  <a:cubicBezTo>
                    <a:pt x="651" y="1298"/>
                    <a:pt x="659" y="1271"/>
                    <a:pt x="678" y="1251"/>
                  </a:cubicBezTo>
                  <a:cubicBezTo>
                    <a:pt x="687" y="1243"/>
                    <a:pt x="694" y="1227"/>
                    <a:pt x="701" y="1210"/>
                  </a:cubicBezTo>
                  <a:cubicBezTo>
                    <a:pt x="704" y="1214"/>
                    <a:pt x="711" y="1223"/>
                    <a:pt x="712" y="1225"/>
                  </a:cubicBezTo>
                  <a:cubicBezTo>
                    <a:pt x="716" y="1229"/>
                    <a:pt x="724" y="1240"/>
                    <a:pt x="728" y="1244"/>
                  </a:cubicBezTo>
                  <a:cubicBezTo>
                    <a:pt x="743" y="1260"/>
                    <a:pt x="743" y="1266"/>
                    <a:pt x="731" y="1287"/>
                  </a:cubicBezTo>
                  <a:cubicBezTo>
                    <a:pt x="724" y="1298"/>
                    <a:pt x="713" y="1313"/>
                    <a:pt x="701" y="1330"/>
                  </a:cubicBezTo>
                  <a:cubicBezTo>
                    <a:pt x="689" y="1347"/>
                    <a:pt x="675" y="1360"/>
                    <a:pt x="660" y="1363"/>
                  </a:cubicBezTo>
                  <a:cubicBezTo>
                    <a:pt x="652" y="1364"/>
                    <a:pt x="640" y="1359"/>
                    <a:pt x="628" y="1361"/>
                  </a:cubicBezTo>
                  <a:cubicBezTo>
                    <a:pt x="617" y="1362"/>
                    <a:pt x="611" y="1367"/>
                    <a:pt x="606" y="1377"/>
                  </a:cubicBezTo>
                  <a:cubicBezTo>
                    <a:pt x="607" y="1378"/>
                    <a:pt x="607" y="1378"/>
                    <a:pt x="607" y="1378"/>
                  </a:cubicBezTo>
                  <a:cubicBezTo>
                    <a:pt x="600" y="1376"/>
                    <a:pt x="592" y="1377"/>
                    <a:pt x="584" y="1380"/>
                  </a:cubicBezTo>
                  <a:cubicBezTo>
                    <a:pt x="569" y="1385"/>
                    <a:pt x="557" y="1397"/>
                    <a:pt x="555" y="1408"/>
                  </a:cubicBezTo>
                  <a:cubicBezTo>
                    <a:pt x="553" y="1414"/>
                    <a:pt x="553" y="1414"/>
                    <a:pt x="553" y="1414"/>
                  </a:cubicBezTo>
                  <a:cubicBezTo>
                    <a:pt x="560" y="1413"/>
                    <a:pt x="560" y="1413"/>
                    <a:pt x="560" y="1413"/>
                  </a:cubicBezTo>
                  <a:cubicBezTo>
                    <a:pt x="569" y="1411"/>
                    <a:pt x="570" y="1411"/>
                    <a:pt x="572" y="1412"/>
                  </a:cubicBezTo>
                  <a:cubicBezTo>
                    <a:pt x="574" y="1412"/>
                    <a:pt x="575" y="1412"/>
                    <a:pt x="577" y="1412"/>
                  </a:cubicBezTo>
                  <a:cubicBezTo>
                    <a:pt x="579" y="1413"/>
                    <a:pt x="580" y="1413"/>
                    <a:pt x="583" y="1415"/>
                  </a:cubicBezTo>
                  <a:cubicBezTo>
                    <a:pt x="585" y="1416"/>
                    <a:pt x="588" y="1417"/>
                    <a:pt x="593" y="1419"/>
                  </a:cubicBezTo>
                  <a:cubicBezTo>
                    <a:pt x="593" y="1427"/>
                    <a:pt x="593" y="1431"/>
                    <a:pt x="597" y="1438"/>
                  </a:cubicBezTo>
                  <a:cubicBezTo>
                    <a:pt x="600" y="1444"/>
                    <a:pt x="605" y="1444"/>
                    <a:pt x="601" y="1450"/>
                  </a:cubicBezTo>
                  <a:cubicBezTo>
                    <a:pt x="596" y="1457"/>
                    <a:pt x="591" y="1463"/>
                    <a:pt x="591" y="1473"/>
                  </a:cubicBezTo>
                  <a:cubicBezTo>
                    <a:pt x="591" y="1478"/>
                    <a:pt x="592" y="1482"/>
                    <a:pt x="593" y="1485"/>
                  </a:cubicBezTo>
                  <a:cubicBezTo>
                    <a:pt x="594" y="1486"/>
                    <a:pt x="596" y="1493"/>
                    <a:pt x="598" y="1495"/>
                  </a:cubicBezTo>
                  <a:cubicBezTo>
                    <a:pt x="597" y="1495"/>
                    <a:pt x="597" y="1495"/>
                    <a:pt x="597" y="1495"/>
                  </a:cubicBezTo>
                  <a:cubicBezTo>
                    <a:pt x="593" y="1503"/>
                    <a:pt x="592" y="1522"/>
                    <a:pt x="595" y="1532"/>
                  </a:cubicBezTo>
                  <a:cubicBezTo>
                    <a:pt x="596" y="1535"/>
                    <a:pt x="599" y="1540"/>
                    <a:pt x="602" y="1543"/>
                  </a:cubicBezTo>
                  <a:cubicBezTo>
                    <a:pt x="606" y="1548"/>
                    <a:pt x="606" y="1548"/>
                    <a:pt x="606" y="1548"/>
                  </a:cubicBezTo>
                  <a:cubicBezTo>
                    <a:pt x="609" y="1542"/>
                    <a:pt x="609" y="1542"/>
                    <a:pt x="609" y="1542"/>
                  </a:cubicBezTo>
                  <a:cubicBezTo>
                    <a:pt x="613" y="1534"/>
                    <a:pt x="618" y="1528"/>
                    <a:pt x="627" y="1522"/>
                  </a:cubicBezTo>
                  <a:cubicBezTo>
                    <a:pt x="640" y="1534"/>
                    <a:pt x="670" y="1528"/>
                    <a:pt x="682" y="1517"/>
                  </a:cubicBezTo>
                  <a:cubicBezTo>
                    <a:pt x="686" y="1512"/>
                    <a:pt x="690" y="1505"/>
                    <a:pt x="694" y="1501"/>
                  </a:cubicBezTo>
                  <a:cubicBezTo>
                    <a:pt x="696" y="1498"/>
                    <a:pt x="701" y="1504"/>
                    <a:pt x="703" y="1506"/>
                  </a:cubicBezTo>
                  <a:cubicBezTo>
                    <a:pt x="704" y="1507"/>
                    <a:pt x="709" y="1511"/>
                    <a:pt x="711" y="1512"/>
                  </a:cubicBezTo>
                  <a:cubicBezTo>
                    <a:pt x="713" y="1519"/>
                    <a:pt x="718" y="1527"/>
                    <a:pt x="725" y="1536"/>
                  </a:cubicBezTo>
                  <a:cubicBezTo>
                    <a:pt x="731" y="1544"/>
                    <a:pt x="731" y="1544"/>
                    <a:pt x="731" y="1544"/>
                  </a:cubicBezTo>
                  <a:cubicBezTo>
                    <a:pt x="733" y="1535"/>
                    <a:pt x="733" y="1535"/>
                    <a:pt x="733" y="1535"/>
                  </a:cubicBezTo>
                  <a:cubicBezTo>
                    <a:pt x="734" y="1533"/>
                    <a:pt x="735" y="1531"/>
                    <a:pt x="737" y="1528"/>
                  </a:cubicBezTo>
                  <a:cubicBezTo>
                    <a:pt x="739" y="1526"/>
                    <a:pt x="741" y="1523"/>
                    <a:pt x="743" y="1520"/>
                  </a:cubicBezTo>
                  <a:cubicBezTo>
                    <a:pt x="744" y="1518"/>
                    <a:pt x="745" y="1517"/>
                    <a:pt x="747" y="1515"/>
                  </a:cubicBezTo>
                  <a:cubicBezTo>
                    <a:pt x="749" y="1513"/>
                    <a:pt x="750" y="1511"/>
                    <a:pt x="752" y="1509"/>
                  </a:cubicBezTo>
                  <a:cubicBezTo>
                    <a:pt x="780" y="1507"/>
                    <a:pt x="803" y="1475"/>
                    <a:pt x="791" y="1445"/>
                  </a:cubicBezTo>
                  <a:cubicBezTo>
                    <a:pt x="789" y="1441"/>
                    <a:pt x="785" y="1438"/>
                    <a:pt x="781" y="1435"/>
                  </a:cubicBezTo>
                  <a:cubicBezTo>
                    <a:pt x="782" y="1435"/>
                    <a:pt x="787" y="1431"/>
                    <a:pt x="788" y="1430"/>
                  </a:cubicBezTo>
                  <a:cubicBezTo>
                    <a:pt x="791" y="1428"/>
                    <a:pt x="794" y="1424"/>
                    <a:pt x="795" y="1421"/>
                  </a:cubicBezTo>
                  <a:cubicBezTo>
                    <a:pt x="801" y="1424"/>
                    <a:pt x="807" y="1427"/>
                    <a:pt x="816" y="1426"/>
                  </a:cubicBezTo>
                  <a:cubicBezTo>
                    <a:pt x="819" y="1425"/>
                    <a:pt x="823" y="1425"/>
                    <a:pt x="827" y="1424"/>
                  </a:cubicBezTo>
                  <a:cubicBezTo>
                    <a:pt x="831" y="1423"/>
                    <a:pt x="835" y="1422"/>
                    <a:pt x="838" y="1420"/>
                  </a:cubicBezTo>
                  <a:cubicBezTo>
                    <a:pt x="839" y="1423"/>
                    <a:pt x="841" y="1426"/>
                    <a:pt x="843" y="1428"/>
                  </a:cubicBezTo>
                  <a:cubicBezTo>
                    <a:pt x="844" y="1429"/>
                    <a:pt x="845" y="1430"/>
                    <a:pt x="845" y="1431"/>
                  </a:cubicBezTo>
                  <a:cubicBezTo>
                    <a:pt x="849" y="1436"/>
                    <a:pt x="849" y="1436"/>
                    <a:pt x="849" y="1436"/>
                  </a:cubicBezTo>
                  <a:cubicBezTo>
                    <a:pt x="853" y="1431"/>
                    <a:pt x="853" y="1431"/>
                    <a:pt x="853" y="1431"/>
                  </a:cubicBezTo>
                  <a:cubicBezTo>
                    <a:pt x="858" y="1424"/>
                    <a:pt x="861" y="1421"/>
                    <a:pt x="861" y="1405"/>
                  </a:cubicBezTo>
                  <a:cubicBezTo>
                    <a:pt x="862" y="1398"/>
                    <a:pt x="859" y="1390"/>
                    <a:pt x="856" y="1385"/>
                  </a:cubicBezTo>
                  <a:cubicBezTo>
                    <a:pt x="856" y="1381"/>
                    <a:pt x="855" y="1377"/>
                    <a:pt x="855" y="1374"/>
                  </a:cubicBezTo>
                  <a:cubicBezTo>
                    <a:pt x="854" y="1372"/>
                    <a:pt x="851" y="1366"/>
                    <a:pt x="850" y="1366"/>
                  </a:cubicBezTo>
                  <a:cubicBezTo>
                    <a:pt x="846" y="1361"/>
                    <a:pt x="863" y="1357"/>
                    <a:pt x="871" y="1354"/>
                  </a:cubicBezTo>
                  <a:cubicBezTo>
                    <a:pt x="877" y="1352"/>
                    <a:pt x="887" y="1345"/>
                    <a:pt x="889" y="1341"/>
                  </a:cubicBezTo>
                  <a:cubicBezTo>
                    <a:pt x="889" y="1340"/>
                    <a:pt x="890" y="1339"/>
                    <a:pt x="889" y="1339"/>
                  </a:cubicBezTo>
                  <a:cubicBezTo>
                    <a:pt x="888" y="1339"/>
                    <a:pt x="879" y="1337"/>
                    <a:pt x="877" y="1336"/>
                  </a:cubicBezTo>
                  <a:cubicBezTo>
                    <a:pt x="879" y="1335"/>
                    <a:pt x="897" y="1328"/>
                    <a:pt x="899" y="1326"/>
                  </a:cubicBezTo>
                  <a:cubicBezTo>
                    <a:pt x="903" y="1322"/>
                    <a:pt x="906" y="1318"/>
                    <a:pt x="908" y="1315"/>
                  </a:cubicBezTo>
                  <a:cubicBezTo>
                    <a:pt x="910" y="1313"/>
                    <a:pt x="911" y="1313"/>
                    <a:pt x="910" y="1311"/>
                  </a:cubicBezTo>
                  <a:cubicBezTo>
                    <a:pt x="910" y="1310"/>
                    <a:pt x="908" y="1310"/>
                    <a:pt x="907" y="1310"/>
                  </a:cubicBezTo>
                  <a:cubicBezTo>
                    <a:pt x="904" y="1309"/>
                    <a:pt x="899" y="1309"/>
                    <a:pt x="894" y="1308"/>
                  </a:cubicBezTo>
                  <a:cubicBezTo>
                    <a:pt x="893" y="1308"/>
                    <a:pt x="881" y="1308"/>
                    <a:pt x="879" y="1305"/>
                  </a:cubicBezTo>
                  <a:cubicBezTo>
                    <a:pt x="878" y="1303"/>
                    <a:pt x="887" y="1301"/>
                    <a:pt x="888" y="1300"/>
                  </a:cubicBezTo>
                  <a:cubicBezTo>
                    <a:pt x="894" y="1297"/>
                    <a:pt x="899" y="1293"/>
                    <a:pt x="903" y="1289"/>
                  </a:cubicBezTo>
                  <a:cubicBezTo>
                    <a:pt x="905" y="1286"/>
                    <a:pt x="907" y="1284"/>
                    <a:pt x="909" y="1281"/>
                  </a:cubicBezTo>
                  <a:cubicBezTo>
                    <a:pt x="909" y="1280"/>
                    <a:pt x="910" y="1277"/>
                    <a:pt x="911" y="1275"/>
                  </a:cubicBezTo>
                  <a:cubicBezTo>
                    <a:pt x="918" y="1274"/>
                    <a:pt x="933" y="1259"/>
                    <a:pt x="936" y="1249"/>
                  </a:cubicBezTo>
                  <a:cubicBezTo>
                    <a:pt x="937" y="1247"/>
                    <a:pt x="937" y="1246"/>
                    <a:pt x="937" y="1245"/>
                  </a:cubicBezTo>
                  <a:cubicBezTo>
                    <a:pt x="937" y="1243"/>
                    <a:pt x="936" y="1243"/>
                    <a:pt x="934" y="1243"/>
                  </a:cubicBezTo>
                  <a:cubicBezTo>
                    <a:pt x="930" y="1244"/>
                    <a:pt x="924" y="1246"/>
                    <a:pt x="921" y="1246"/>
                  </a:cubicBezTo>
                  <a:cubicBezTo>
                    <a:pt x="908" y="1247"/>
                    <a:pt x="919" y="1238"/>
                    <a:pt x="927" y="1228"/>
                  </a:cubicBezTo>
                  <a:cubicBezTo>
                    <a:pt x="928" y="1222"/>
                    <a:pt x="933" y="1216"/>
                    <a:pt x="936" y="1212"/>
                  </a:cubicBezTo>
                  <a:cubicBezTo>
                    <a:pt x="944" y="1202"/>
                    <a:pt x="947" y="1197"/>
                    <a:pt x="947" y="1189"/>
                  </a:cubicBezTo>
                  <a:cubicBezTo>
                    <a:pt x="947" y="1187"/>
                    <a:pt x="947" y="1184"/>
                    <a:pt x="945" y="1183"/>
                  </a:cubicBezTo>
                  <a:cubicBezTo>
                    <a:pt x="944" y="1182"/>
                    <a:pt x="942" y="1182"/>
                    <a:pt x="941" y="1182"/>
                  </a:cubicBezTo>
                  <a:cubicBezTo>
                    <a:pt x="937" y="1182"/>
                    <a:pt x="934" y="1183"/>
                    <a:pt x="930" y="1183"/>
                  </a:cubicBezTo>
                  <a:cubicBezTo>
                    <a:pt x="929" y="1183"/>
                    <a:pt x="925" y="1184"/>
                    <a:pt x="923" y="1185"/>
                  </a:cubicBezTo>
                  <a:cubicBezTo>
                    <a:pt x="920" y="1185"/>
                    <a:pt x="915" y="1184"/>
                    <a:pt x="912" y="1184"/>
                  </a:cubicBezTo>
                  <a:cubicBezTo>
                    <a:pt x="899" y="1182"/>
                    <a:pt x="874" y="1162"/>
                    <a:pt x="867" y="1153"/>
                  </a:cubicBezTo>
                  <a:cubicBezTo>
                    <a:pt x="862" y="1146"/>
                    <a:pt x="834" y="1123"/>
                    <a:pt x="825" y="1121"/>
                  </a:cubicBezTo>
                  <a:cubicBezTo>
                    <a:pt x="830" y="1075"/>
                    <a:pt x="832" y="1020"/>
                    <a:pt x="828" y="969"/>
                  </a:cubicBezTo>
                  <a:cubicBezTo>
                    <a:pt x="842" y="991"/>
                    <a:pt x="858" y="1011"/>
                    <a:pt x="877" y="1028"/>
                  </a:cubicBezTo>
                  <a:cubicBezTo>
                    <a:pt x="902" y="1050"/>
                    <a:pt x="929" y="1069"/>
                    <a:pt x="952" y="1092"/>
                  </a:cubicBezTo>
                  <a:cubicBezTo>
                    <a:pt x="974" y="1114"/>
                    <a:pt x="991" y="1136"/>
                    <a:pt x="1001" y="1167"/>
                  </a:cubicBezTo>
                  <a:cubicBezTo>
                    <a:pt x="1005" y="1182"/>
                    <a:pt x="1005" y="1200"/>
                    <a:pt x="1005" y="1218"/>
                  </a:cubicBezTo>
                  <a:cubicBezTo>
                    <a:pt x="1005" y="1225"/>
                    <a:pt x="997" y="1251"/>
                    <a:pt x="1011" y="1237"/>
                  </a:cubicBezTo>
                  <a:cubicBezTo>
                    <a:pt x="1027" y="1220"/>
                    <a:pt x="1034" y="1208"/>
                    <a:pt x="1045" y="1188"/>
                  </a:cubicBezTo>
                  <a:cubicBezTo>
                    <a:pt x="1048" y="1181"/>
                    <a:pt x="1053" y="1166"/>
                    <a:pt x="1053" y="1157"/>
                  </a:cubicBezTo>
                  <a:cubicBezTo>
                    <a:pt x="1053" y="1150"/>
                    <a:pt x="1053" y="1143"/>
                    <a:pt x="1053" y="1136"/>
                  </a:cubicBezTo>
                  <a:cubicBezTo>
                    <a:pt x="1052" y="1128"/>
                    <a:pt x="1048" y="1117"/>
                    <a:pt x="1048" y="1113"/>
                  </a:cubicBezTo>
                  <a:cubicBezTo>
                    <a:pt x="1048" y="1106"/>
                    <a:pt x="1053" y="1110"/>
                    <a:pt x="1057" y="1112"/>
                  </a:cubicBezTo>
                  <a:cubicBezTo>
                    <a:pt x="1063" y="1117"/>
                    <a:pt x="1077" y="1120"/>
                    <a:pt x="1082" y="1120"/>
                  </a:cubicBezTo>
                  <a:cubicBezTo>
                    <a:pt x="1091" y="1120"/>
                    <a:pt x="1100" y="1120"/>
                    <a:pt x="1109" y="1119"/>
                  </a:cubicBezTo>
                  <a:cubicBezTo>
                    <a:pt x="1127" y="1117"/>
                    <a:pt x="1145" y="1113"/>
                    <a:pt x="1161" y="1105"/>
                  </a:cubicBezTo>
                  <a:close/>
                  <a:moveTo>
                    <a:pt x="808" y="448"/>
                  </a:moveTo>
                  <a:cubicBezTo>
                    <a:pt x="810" y="456"/>
                    <a:pt x="815" y="463"/>
                    <a:pt x="816" y="466"/>
                  </a:cubicBezTo>
                  <a:cubicBezTo>
                    <a:pt x="817" y="470"/>
                    <a:pt x="825" y="480"/>
                    <a:pt x="825" y="482"/>
                  </a:cubicBezTo>
                  <a:cubicBezTo>
                    <a:pt x="816" y="485"/>
                    <a:pt x="788" y="473"/>
                    <a:pt x="781" y="466"/>
                  </a:cubicBezTo>
                  <a:cubicBezTo>
                    <a:pt x="770" y="455"/>
                    <a:pt x="758" y="437"/>
                    <a:pt x="749" y="425"/>
                  </a:cubicBezTo>
                  <a:cubicBezTo>
                    <a:pt x="747" y="423"/>
                    <a:pt x="744" y="419"/>
                    <a:pt x="741" y="417"/>
                  </a:cubicBezTo>
                  <a:cubicBezTo>
                    <a:pt x="736" y="412"/>
                    <a:pt x="732" y="410"/>
                    <a:pt x="727" y="405"/>
                  </a:cubicBezTo>
                  <a:cubicBezTo>
                    <a:pt x="724" y="403"/>
                    <a:pt x="716" y="395"/>
                    <a:pt x="712" y="395"/>
                  </a:cubicBezTo>
                  <a:cubicBezTo>
                    <a:pt x="706" y="396"/>
                    <a:pt x="715" y="407"/>
                    <a:pt x="717" y="409"/>
                  </a:cubicBezTo>
                  <a:cubicBezTo>
                    <a:pt x="730" y="422"/>
                    <a:pt x="730" y="422"/>
                    <a:pt x="730" y="422"/>
                  </a:cubicBezTo>
                  <a:cubicBezTo>
                    <a:pt x="739" y="431"/>
                    <a:pt x="746" y="440"/>
                    <a:pt x="752" y="450"/>
                  </a:cubicBezTo>
                  <a:cubicBezTo>
                    <a:pt x="754" y="454"/>
                    <a:pt x="757" y="460"/>
                    <a:pt x="758" y="462"/>
                  </a:cubicBezTo>
                  <a:cubicBezTo>
                    <a:pt x="761" y="468"/>
                    <a:pt x="764" y="476"/>
                    <a:pt x="765" y="482"/>
                  </a:cubicBezTo>
                  <a:cubicBezTo>
                    <a:pt x="766" y="496"/>
                    <a:pt x="766" y="513"/>
                    <a:pt x="764" y="525"/>
                  </a:cubicBezTo>
                  <a:cubicBezTo>
                    <a:pt x="762" y="540"/>
                    <a:pt x="760" y="548"/>
                    <a:pt x="757" y="557"/>
                  </a:cubicBezTo>
                  <a:cubicBezTo>
                    <a:pt x="755" y="560"/>
                    <a:pt x="750" y="576"/>
                    <a:pt x="746" y="579"/>
                  </a:cubicBezTo>
                  <a:cubicBezTo>
                    <a:pt x="744" y="537"/>
                    <a:pt x="709" y="471"/>
                    <a:pt x="693" y="461"/>
                  </a:cubicBezTo>
                  <a:cubicBezTo>
                    <a:pt x="681" y="461"/>
                    <a:pt x="699" y="479"/>
                    <a:pt x="705" y="492"/>
                  </a:cubicBezTo>
                  <a:cubicBezTo>
                    <a:pt x="712" y="508"/>
                    <a:pt x="724" y="533"/>
                    <a:pt x="727" y="550"/>
                  </a:cubicBezTo>
                  <a:cubicBezTo>
                    <a:pt x="729" y="562"/>
                    <a:pt x="733" y="575"/>
                    <a:pt x="734" y="585"/>
                  </a:cubicBezTo>
                  <a:cubicBezTo>
                    <a:pt x="736" y="602"/>
                    <a:pt x="757" y="647"/>
                    <a:pt x="766" y="649"/>
                  </a:cubicBezTo>
                  <a:cubicBezTo>
                    <a:pt x="748" y="651"/>
                    <a:pt x="710" y="630"/>
                    <a:pt x="700" y="612"/>
                  </a:cubicBezTo>
                  <a:cubicBezTo>
                    <a:pt x="697" y="606"/>
                    <a:pt x="688" y="608"/>
                    <a:pt x="688" y="582"/>
                  </a:cubicBezTo>
                  <a:cubicBezTo>
                    <a:pt x="688" y="569"/>
                    <a:pt x="691" y="555"/>
                    <a:pt x="690" y="546"/>
                  </a:cubicBezTo>
                  <a:cubicBezTo>
                    <a:pt x="684" y="544"/>
                    <a:pt x="685" y="548"/>
                    <a:pt x="681" y="563"/>
                  </a:cubicBezTo>
                  <a:cubicBezTo>
                    <a:pt x="678" y="579"/>
                    <a:pt x="679" y="593"/>
                    <a:pt x="675" y="609"/>
                  </a:cubicBezTo>
                  <a:cubicBezTo>
                    <a:pt x="671" y="626"/>
                    <a:pt x="657" y="659"/>
                    <a:pt x="658" y="679"/>
                  </a:cubicBezTo>
                  <a:cubicBezTo>
                    <a:pt x="648" y="666"/>
                    <a:pt x="636" y="654"/>
                    <a:pt x="629" y="635"/>
                  </a:cubicBezTo>
                  <a:cubicBezTo>
                    <a:pt x="623" y="618"/>
                    <a:pt x="620" y="592"/>
                    <a:pt x="620" y="576"/>
                  </a:cubicBezTo>
                  <a:cubicBezTo>
                    <a:pt x="622" y="570"/>
                    <a:pt x="625" y="559"/>
                    <a:pt x="627" y="553"/>
                  </a:cubicBezTo>
                  <a:cubicBezTo>
                    <a:pt x="645" y="555"/>
                    <a:pt x="657" y="553"/>
                    <a:pt x="665" y="548"/>
                  </a:cubicBezTo>
                  <a:cubicBezTo>
                    <a:pt x="674" y="543"/>
                    <a:pt x="679" y="536"/>
                    <a:pt x="684" y="528"/>
                  </a:cubicBezTo>
                  <a:cubicBezTo>
                    <a:pt x="686" y="525"/>
                    <a:pt x="684" y="523"/>
                    <a:pt x="680" y="524"/>
                  </a:cubicBezTo>
                  <a:cubicBezTo>
                    <a:pt x="670" y="525"/>
                    <a:pt x="660" y="521"/>
                    <a:pt x="655" y="514"/>
                  </a:cubicBezTo>
                  <a:cubicBezTo>
                    <a:pt x="653" y="511"/>
                    <a:pt x="650" y="504"/>
                    <a:pt x="648" y="501"/>
                  </a:cubicBezTo>
                  <a:cubicBezTo>
                    <a:pt x="647" y="499"/>
                    <a:pt x="645" y="494"/>
                    <a:pt x="646" y="494"/>
                  </a:cubicBezTo>
                  <a:cubicBezTo>
                    <a:pt x="653" y="487"/>
                    <a:pt x="654" y="487"/>
                    <a:pt x="658" y="477"/>
                  </a:cubicBezTo>
                  <a:cubicBezTo>
                    <a:pt x="663" y="466"/>
                    <a:pt x="669" y="456"/>
                    <a:pt x="674" y="445"/>
                  </a:cubicBezTo>
                  <a:cubicBezTo>
                    <a:pt x="675" y="442"/>
                    <a:pt x="689" y="425"/>
                    <a:pt x="694" y="418"/>
                  </a:cubicBezTo>
                  <a:cubicBezTo>
                    <a:pt x="697" y="412"/>
                    <a:pt x="701" y="404"/>
                    <a:pt x="704" y="396"/>
                  </a:cubicBezTo>
                  <a:cubicBezTo>
                    <a:pt x="706" y="388"/>
                    <a:pt x="710" y="378"/>
                    <a:pt x="710" y="370"/>
                  </a:cubicBezTo>
                  <a:cubicBezTo>
                    <a:pt x="710" y="363"/>
                    <a:pt x="709" y="360"/>
                    <a:pt x="707" y="354"/>
                  </a:cubicBezTo>
                  <a:cubicBezTo>
                    <a:pt x="713" y="356"/>
                    <a:pt x="729" y="362"/>
                    <a:pt x="740" y="360"/>
                  </a:cubicBezTo>
                  <a:cubicBezTo>
                    <a:pt x="744" y="359"/>
                    <a:pt x="748" y="357"/>
                    <a:pt x="753" y="355"/>
                  </a:cubicBezTo>
                  <a:cubicBezTo>
                    <a:pt x="761" y="359"/>
                    <a:pt x="775" y="372"/>
                    <a:pt x="781" y="379"/>
                  </a:cubicBezTo>
                  <a:cubicBezTo>
                    <a:pt x="785" y="385"/>
                    <a:pt x="788" y="390"/>
                    <a:pt x="790" y="397"/>
                  </a:cubicBezTo>
                  <a:cubicBezTo>
                    <a:pt x="791" y="400"/>
                    <a:pt x="795" y="410"/>
                    <a:pt x="796" y="414"/>
                  </a:cubicBezTo>
                  <a:cubicBezTo>
                    <a:pt x="799" y="425"/>
                    <a:pt x="804" y="437"/>
                    <a:pt x="808" y="448"/>
                  </a:cubicBezTo>
                  <a:close/>
                  <a:moveTo>
                    <a:pt x="782" y="247"/>
                  </a:moveTo>
                  <a:cubicBezTo>
                    <a:pt x="790" y="249"/>
                    <a:pt x="798" y="248"/>
                    <a:pt x="803" y="247"/>
                  </a:cubicBezTo>
                  <a:cubicBezTo>
                    <a:pt x="807" y="246"/>
                    <a:pt x="815" y="244"/>
                    <a:pt x="818" y="240"/>
                  </a:cubicBezTo>
                  <a:cubicBezTo>
                    <a:pt x="821" y="253"/>
                    <a:pt x="810" y="271"/>
                    <a:pt x="802" y="276"/>
                  </a:cubicBezTo>
                  <a:cubicBezTo>
                    <a:pt x="790" y="284"/>
                    <a:pt x="788" y="278"/>
                    <a:pt x="780" y="273"/>
                  </a:cubicBezTo>
                  <a:cubicBezTo>
                    <a:pt x="773" y="269"/>
                    <a:pt x="767" y="264"/>
                    <a:pt x="759" y="263"/>
                  </a:cubicBezTo>
                  <a:cubicBezTo>
                    <a:pt x="754" y="264"/>
                    <a:pt x="755" y="267"/>
                    <a:pt x="759" y="270"/>
                  </a:cubicBezTo>
                  <a:cubicBezTo>
                    <a:pt x="763" y="272"/>
                    <a:pt x="769" y="277"/>
                    <a:pt x="771" y="278"/>
                  </a:cubicBezTo>
                  <a:cubicBezTo>
                    <a:pt x="775" y="282"/>
                    <a:pt x="792" y="295"/>
                    <a:pt x="795" y="303"/>
                  </a:cubicBezTo>
                  <a:cubicBezTo>
                    <a:pt x="800" y="311"/>
                    <a:pt x="800" y="316"/>
                    <a:pt x="801" y="325"/>
                  </a:cubicBezTo>
                  <a:cubicBezTo>
                    <a:pt x="801" y="328"/>
                    <a:pt x="800" y="334"/>
                    <a:pt x="800" y="337"/>
                  </a:cubicBezTo>
                  <a:cubicBezTo>
                    <a:pt x="798" y="331"/>
                    <a:pt x="763" y="297"/>
                    <a:pt x="754" y="297"/>
                  </a:cubicBezTo>
                  <a:cubicBezTo>
                    <a:pt x="746" y="299"/>
                    <a:pt x="752" y="303"/>
                    <a:pt x="755" y="305"/>
                  </a:cubicBezTo>
                  <a:cubicBezTo>
                    <a:pt x="760" y="310"/>
                    <a:pt x="766" y="315"/>
                    <a:pt x="768" y="317"/>
                  </a:cubicBezTo>
                  <a:cubicBezTo>
                    <a:pt x="775" y="323"/>
                    <a:pt x="788" y="339"/>
                    <a:pt x="792" y="348"/>
                  </a:cubicBezTo>
                  <a:cubicBezTo>
                    <a:pt x="799" y="359"/>
                    <a:pt x="800" y="378"/>
                    <a:pt x="798" y="390"/>
                  </a:cubicBezTo>
                  <a:cubicBezTo>
                    <a:pt x="799" y="386"/>
                    <a:pt x="788" y="372"/>
                    <a:pt x="781" y="365"/>
                  </a:cubicBezTo>
                  <a:cubicBezTo>
                    <a:pt x="776" y="360"/>
                    <a:pt x="768" y="352"/>
                    <a:pt x="760" y="350"/>
                  </a:cubicBezTo>
                  <a:cubicBezTo>
                    <a:pt x="761" y="349"/>
                    <a:pt x="763" y="349"/>
                    <a:pt x="763" y="348"/>
                  </a:cubicBezTo>
                  <a:cubicBezTo>
                    <a:pt x="766" y="346"/>
                    <a:pt x="767" y="343"/>
                    <a:pt x="768" y="339"/>
                  </a:cubicBezTo>
                  <a:cubicBezTo>
                    <a:pt x="768" y="337"/>
                    <a:pt x="767" y="337"/>
                    <a:pt x="765" y="337"/>
                  </a:cubicBezTo>
                  <a:cubicBezTo>
                    <a:pt x="759" y="338"/>
                    <a:pt x="752" y="338"/>
                    <a:pt x="750" y="337"/>
                  </a:cubicBezTo>
                  <a:cubicBezTo>
                    <a:pt x="746" y="336"/>
                    <a:pt x="745" y="336"/>
                    <a:pt x="741" y="332"/>
                  </a:cubicBezTo>
                  <a:cubicBezTo>
                    <a:pt x="731" y="323"/>
                    <a:pt x="731" y="325"/>
                    <a:pt x="736" y="315"/>
                  </a:cubicBezTo>
                  <a:cubicBezTo>
                    <a:pt x="741" y="305"/>
                    <a:pt x="742" y="295"/>
                    <a:pt x="743" y="274"/>
                  </a:cubicBezTo>
                  <a:cubicBezTo>
                    <a:pt x="744" y="257"/>
                    <a:pt x="736" y="242"/>
                    <a:pt x="734" y="234"/>
                  </a:cubicBezTo>
                  <a:cubicBezTo>
                    <a:pt x="742" y="234"/>
                    <a:pt x="748" y="233"/>
                    <a:pt x="753" y="231"/>
                  </a:cubicBezTo>
                  <a:cubicBezTo>
                    <a:pt x="762" y="239"/>
                    <a:pt x="770" y="243"/>
                    <a:pt x="782" y="247"/>
                  </a:cubicBezTo>
                  <a:close/>
                  <a:moveTo>
                    <a:pt x="541" y="59"/>
                  </a:moveTo>
                  <a:cubicBezTo>
                    <a:pt x="540" y="56"/>
                    <a:pt x="538" y="50"/>
                    <a:pt x="536" y="45"/>
                  </a:cubicBezTo>
                  <a:cubicBezTo>
                    <a:pt x="534" y="42"/>
                    <a:pt x="534" y="41"/>
                    <a:pt x="531" y="38"/>
                  </a:cubicBezTo>
                  <a:cubicBezTo>
                    <a:pt x="529" y="36"/>
                    <a:pt x="525" y="28"/>
                    <a:pt x="528" y="28"/>
                  </a:cubicBezTo>
                  <a:cubicBezTo>
                    <a:pt x="532" y="27"/>
                    <a:pt x="533" y="27"/>
                    <a:pt x="539" y="30"/>
                  </a:cubicBezTo>
                  <a:cubicBezTo>
                    <a:pt x="549" y="36"/>
                    <a:pt x="549" y="46"/>
                    <a:pt x="557" y="47"/>
                  </a:cubicBezTo>
                  <a:cubicBezTo>
                    <a:pt x="564" y="47"/>
                    <a:pt x="574" y="47"/>
                    <a:pt x="576" y="54"/>
                  </a:cubicBezTo>
                  <a:cubicBezTo>
                    <a:pt x="580" y="75"/>
                    <a:pt x="570" y="71"/>
                    <a:pt x="561" y="81"/>
                  </a:cubicBezTo>
                  <a:cubicBezTo>
                    <a:pt x="557" y="86"/>
                    <a:pt x="550" y="93"/>
                    <a:pt x="561" y="91"/>
                  </a:cubicBezTo>
                  <a:cubicBezTo>
                    <a:pt x="573" y="88"/>
                    <a:pt x="577" y="78"/>
                    <a:pt x="583" y="77"/>
                  </a:cubicBezTo>
                  <a:cubicBezTo>
                    <a:pt x="586" y="78"/>
                    <a:pt x="588" y="83"/>
                    <a:pt x="592" y="86"/>
                  </a:cubicBezTo>
                  <a:cubicBezTo>
                    <a:pt x="596" y="88"/>
                    <a:pt x="603" y="90"/>
                    <a:pt x="607" y="90"/>
                  </a:cubicBezTo>
                  <a:cubicBezTo>
                    <a:pt x="609" y="90"/>
                    <a:pt x="611" y="86"/>
                    <a:pt x="609" y="85"/>
                  </a:cubicBezTo>
                  <a:cubicBezTo>
                    <a:pt x="605" y="82"/>
                    <a:pt x="599" y="80"/>
                    <a:pt x="594" y="75"/>
                  </a:cubicBezTo>
                  <a:cubicBezTo>
                    <a:pt x="590" y="70"/>
                    <a:pt x="589" y="70"/>
                    <a:pt x="589" y="60"/>
                  </a:cubicBezTo>
                  <a:cubicBezTo>
                    <a:pt x="590" y="45"/>
                    <a:pt x="597" y="42"/>
                    <a:pt x="605" y="43"/>
                  </a:cubicBezTo>
                  <a:cubicBezTo>
                    <a:pt x="609" y="43"/>
                    <a:pt x="611" y="39"/>
                    <a:pt x="611" y="39"/>
                  </a:cubicBezTo>
                  <a:cubicBezTo>
                    <a:pt x="614" y="34"/>
                    <a:pt x="616" y="28"/>
                    <a:pt x="620" y="23"/>
                  </a:cubicBezTo>
                  <a:cubicBezTo>
                    <a:pt x="624" y="17"/>
                    <a:pt x="631" y="11"/>
                    <a:pt x="637" y="11"/>
                  </a:cubicBezTo>
                  <a:cubicBezTo>
                    <a:pt x="644" y="11"/>
                    <a:pt x="650" y="19"/>
                    <a:pt x="652" y="25"/>
                  </a:cubicBezTo>
                  <a:cubicBezTo>
                    <a:pt x="654" y="27"/>
                    <a:pt x="655" y="31"/>
                    <a:pt x="655" y="34"/>
                  </a:cubicBezTo>
                  <a:cubicBezTo>
                    <a:pt x="655" y="37"/>
                    <a:pt x="656" y="38"/>
                    <a:pt x="659" y="42"/>
                  </a:cubicBezTo>
                  <a:cubicBezTo>
                    <a:pt x="661" y="43"/>
                    <a:pt x="666" y="43"/>
                    <a:pt x="668" y="44"/>
                  </a:cubicBezTo>
                  <a:cubicBezTo>
                    <a:pt x="672" y="45"/>
                    <a:pt x="679" y="49"/>
                    <a:pt x="680" y="53"/>
                  </a:cubicBezTo>
                  <a:cubicBezTo>
                    <a:pt x="682" y="60"/>
                    <a:pt x="680" y="64"/>
                    <a:pt x="679" y="68"/>
                  </a:cubicBezTo>
                  <a:cubicBezTo>
                    <a:pt x="675" y="74"/>
                    <a:pt x="672" y="77"/>
                    <a:pt x="668" y="78"/>
                  </a:cubicBezTo>
                  <a:cubicBezTo>
                    <a:pt x="664" y="80"/>
                    <a:pt x="660" y="80"/>
                    <a:pt x="657" y="83"/>
                  </a:cubicBezTo>
                  <a:cubicBezTo>
                    <a:pt x="654" y="87"/>
                    <a:pt x="659" y="89"/>
                    <a:pt x="665" y="88"/>
                  </a:cubicBezTo>
                  <a:cubicBezTo>
                    <a:pt x="670" y="86"/>
                    <a:pt x="678" y="82"/>
                    <a:pt x="684" y="79"/>
                  </a:cubicBezTo>
                  <a:cubicBezTo>
                    <a:pt x="687" y="83"/>
                    <a:pt x="693" y="86"/>
                    <a:pt x="695" y="88"/>
                  </a:cubicBezTo>
                  <a:cubicBezTo>
                    <a:pt x="698" y="89"/>
                    <a:pt x="705" y="93"/>
                    <a:pt x="711" y="92"/>
                  </a:cubicBezTo>
                  <a:cubicBezTo>
                    <a:pt x="711" y="91"/>
                    <a:pt x="714" y="86"/>
                    <a:pt x="711" y="85"/>
                  </a:cubicBezTo>
                  <a:cubicBezTo>
                    <a:pt x="704" y="84"/>
                    <a:pt x="700" y="80"/>
                    <a:pt x="698" y="79"/>
                  </a:cubicBezTo>
                  <a:cubicBezTo>
                    <a:pt x="697" y="77"/>
                    <a:pt x="694" y="74"/>
                    <a:pt x="693" y="70"/>
                  </a:cubicBezTo>
                  <a:cubicBezTo>
                    <a:pt x="693" y="60"/>
                    <a:pt x="694" y="59"/>
                    <a:pt x="701" y="51"/>
                  </a:cubicBezTo>
                  <a:cubicBezTo>
                    <a:pt x="707" y="47"/>
                    <a:pt x="710" y="48"/>
                    <a:pt x="716" y="51"/>
                  </a:cubicBezTo>
                  <a:cubicBezTo>
                    <a:pt x="720" y="54"/>
                    <a:pt x="722" y="45"/>
                    <a:pt x="725" y="42"/>
                  </a:cubicBezTo>
                  <a:cubicBezTo>
                    <a:pt x="729" y="36"/>
                    <a:pt x="748" y="21"/>
                    <a:pt x="749" y="28"/>
                  </a:cubicBezTo>
                  <a:cubicBezTo>
                    <a:pt x="743" y="38"/>
                    <a:pt x="740" y="45"/>
                    <a:pt x="737" y="55"/>
                  </a:cubicBezTo>
                  <a:cubicBezTo>
                    <a:pt x="732" y="69"/>
                    <a:pt x="728" y="87"/>
                    <a:pt x="725" y="104"/>
                  </a:cubicBezTo>
                  <a:cubicBezTo>
                    <a:pt x="621" y="102"/>
                    <a:pt x="621" y="102"/>
                    <a:pt x="621" y="102"/>
                  </a:cubicBezTo>
                  <a:cubicBezTo>
                    <a:pt x="621" y="102"/>
                    <a:pt x="621" y="102"/>
                    <a:pt x="621" y="102"/>
                  </a:cubicBezTo>
                  <a:cubicBezTo>
                    <a:pt x="618" y="102"/>
                    <a:pt x="616" y="104"/>
                    <a:pt x="616" y="107"/>
                  </a:cubicBezTo>
                  <a:cubicBezTo>
                    <a:pt x="616" y="109"/>
                    <a:pt x="618" y="111"/>
                    <a:pt x="620" y="111"/>
                  </a:cubicBezTo>
                  <a:cubicBezTo>
                    <a:pt x="723" y="112"/>
                    <a:pt x="723" y="112"/>
                    <a:pt x="723" y="112"/>
                  </a:cubicBezTo>
                  <a:cubicBezTo>
                    <a:pt x="722" y="118"/>
                    <a:pt x="722" y="124"/>
                    <a:pt x="721" y="130"/>
                  </a:cubicBezTo>
                  <a:cubicBezTo>
                    <a:pt x="556" y="130"/>
                    <a:pt x="556" y="130"/>
                    <a:pt x="556" y="130"/>
                  </a:cubicBezTo>
                  <a:cubicBezTo>
                    <a:pt x="554" y="121"/>
                    <a:pt x="553" y="113"/>
                    <a:pt x="551" y="105"/>
                  </a:cubicBezTo>
                  <a:cubicBezTo>
                    <a:pt x="548" y="91"/>
                    <a:pt x="547" y="87"/>
                    <a:pt x="545" y="74"/>
                  </a:cubicBezTo>
                  <a:cubicBezTo>
                    <a:pt x="543" y="64"/>
                    <a:pt x="542" y="60"/>
                    <a:pt x="541" y="59"/>
                  </a:cubicBezTo>
                  <a:close/>
                  <a:moveTo>
                    <a:pt x="513" y="257"/>
                  </a:moveTo>
                  <a:cubicBezTo>
                    <a:pt x="511" y="254"/>
                    <a:pt x="511" y="252"/>
                    <a:pt x="511" y="249"/>
                  </a:cubicBezTo>
                  <a:cubicBezTo>
                    <a:pt x="517" y="247"/>
                    <a:pt x="522" y="245"/>
                    <a:pt x="527" y="242"/>
                  </a:cubicBezTo>
                  <a:cubicBezTo>
                    <a:pt x="526" y="247"/>
                    <a:pt x="525" y="253"/>
                    <a:pt x="525" y="256"/>
                  </a:cubicBezTo>
                  <a:cubicBezTo>
                    <a:pt x="525" y="261"/>
                    <a:pt x="526" y="269"/>
                    <a:pt x="521" y="265"/>
                  </a:cubicBezTo>
                  <a:cubicBezTo>
                    <a:pt x="519" y="263"/>
                    <a:pt x="515" y="259"/>
                    <a:pt x="513" y="257"/>
                  </a:cubicBezTo>
                  <a:close/>
                  <a:moveTo>
                    <a:pt x="531" y="258"/>
                  </a:moveTo>
                  <a:cubicBezTo>
                    <a:pt x="531" y="255"/>
                    <a:pt x="532" y="250"/>
                    <a:pt x="533" y="247"/>
                  </a:cubicBezTo>
                  <a:cubicBezTo>
                    <a:pt x="533" y="246"/>
                    <a:pt x="537" y="241"/>
                    <a:pt x="538" y="239"/>
                  </a:cubicBezTo>
                  <a:cubicBezTo>
                    <a:pt x="542" y="238"/>
                    <a:pt x="545" y="237"/>
                    <a:pt x="548" y="237"/>
                  </a:cubicBezTo>
                  <a:cubicBezTo>
                    <a:pt x="569" y="236"/>
                    <a:pt x="576" y="252"/>
                    <a:pt x="574" y="272"/>
                  </a:cubicBezTo>
                  <a:cubicBezTo>
                    <a:pt x="575" y="277"/>
                    <a:pt x="582" y="278"/>
                    <a:pt x="579" y="289"/>
                  </a:cubicBezTo>
                  <a:cubicBezTo>
                    <a:pt x="566" y="276"/>
                    <a:pt x="548" y="274"/>
                    <a:pt x="530" y="274"/>
                  </a:cubicBezTo>
                  <a:cubicBezTo>
                    <a:pt x="531" y="269"/>
                    <a:pt x="531" y="261"/>
                    <a:pt x="531" y="258"/>
                  </a:cubicBezTo>
                  <a:close/>
                  <a:moveTo>
                    <a:pt x="532" y="300"/>
                  </a:moveTo>
                  <a:cubicBezTo>
                    <a:pt x="531" y="295"/>
                    <a:pt x="531" y="286"/>
                    <a:pt x="532" y="285"/>
                  </a:cubicBezTo>
                  <a:cubicBezTo>
                    <a:pt x="534" y="285"/>
                    <a:pt x="535" y="287"/>
                    <a:pt x="536" y="288"/>
                  </a:cubicBezTo>
                  <a:cubicBezTo>
                    <a:pt x="542" y="294"/>
                    <a:pt x="542" y="294"/>
                    <a:pt x="542" y="294"/>
                  </a:cubicBezTo>
                  <a:cubicBezTo>
                    <a:pt x="543" y="295"/>
                    <a:pt x="545" y="298"/>
                    <a:pt x="547" y="300"/>
                  </a:cubicBezTo>
                  <a:cubicBezTo>
                    <a:pt x="541" y="299"/>
                    <a:pt x="536" y="299"/>
                    <a:pt x="532" y="300"/>
                  </a:cubicBezTo>
                  <a:close/>
                  <a:moveTo>
                    <a:pt x="562" y="301"/>
                  </a:moveTo>
                  <a:cubicBezTo>
                    <a:pt x="561" y="299"/>
                    <a:pt x="558" y="297"/>
                    <a:pt x="556" y="295"/>
                  </a:cubicBezTo>
                  <a:cubicBezTo>
                    <a:pt x="549" y="291"/>
                    <a:pt x="551" y="294"/>
                    <a:pt x="542" y="284"/>
                  </a:cubicBezTo>
                  <a:cubicBezTo>
                    <a:pt x="541" y="283"/>
                    <a:pt x="540" y="282"/>
                    <a:pt x="539" y="281"/>
                  </a:cubicBezTo>
                  <a:cubicBezTo>
                    <a:pt x="543" y="281"/>
                    <a:pt x="547" y="282"/>
                    <a:pt x="551" y="282"/>
                  </a:cubicBezTo>
                  <a:cubicBezTo>
                    <a:pt x="555" y="283"/>
                    <a:pt x="573" y="289"/>
                    <a:pt x="578" y="293"/>
                  </a:cubicBezTo>
                  <a:cubicBezTo>
                    <a:pt x="576" y="298"/>
                    <a:pt x="574" y="301"/>
                    <a:pt x="568" y="301"/>
                  </a:cubicBezTo>
                  <a:cubicBezTo>
                    <a:pt x="566" y="301"/>
                    <a:pt x="564" y="301"/>
                    <a:pt x="562" y="301"/>
                  </a:cubicBezTo>
                  <a:close/>
                  <a:moveTo>
                    <a:pt x="483" y="303"/>
                  </a:moveTo>
                  <a:cubicBezTo>
                    <a:pt x="468" y="304"/>
                    <a:pt x="452" y="305"/>
                    <a:pt x="435" y="300"/>
                  </a:cubicBezTo>
                  <a:cubicBezTo>
                    <a:pt x="427" y="297"/>
                    <a:pt x="416" y="291"/>
                    <a:pt x="411" y="285"/>
                  </a:cubicBezTo>
                  <a:cubicBezTo>
                    <a:pt x="407" y="281"/>
                    <a:pt x="406" y="280"/>
                    <a:pt x="403" y="273"/>
                  </a:cubicBezTo>
                  <a:cubicBezTo>
                    <a:pt x="400" y="264"/>
                    <a:pt x="401" y="257"/>
                    <a:pt x="402" y="250"/>
                  </a:cubicBezTo>
                  <a:cubicBezTo>
                    <a:pt x="404" y="241"/>
                    <a:pt x="413" y="234"/>
                    <a:pt x="414" y="233"/>
                  </a:cubicBezTo>
                  <a:cubicBezTo>
                    <a:pt x="415" y="245"/>
                    <a:pt x="415" y="250"/>
                    <a:pt x="421" y="259"/>
                  </a:cubicBezTo>
                  <a:cubicBezTo>
                    <a:pt x="439" y="286"/>
                    <a:pt x="479" y="285"/>
                    <a:pt x="522" y="281"/>
                  </a:cubicBezTo>
                  <a:cubicBezTo>
                    <a:pt x="523" y="281"/>
                    <a:pt x="524" y="281"/>
                    <a:pt x="525" y="281"/>
                  </a:cubicBezTo>
                  <a:cubicBezTo>
                    <a:pt x="524" y="286"/>
                    <a:pt x="524" y="292"/>
                    <a:pt x="524" y="298"/>
                  </a:cubicBezTo>
                  <a:cubicBezTo>
                    <a:pt x="510" y="300"/>
                    <a:pt x="497" y="302"/>
                    <a:pt x="483" y="303"/>
                  </a:cubicBezTo>
                  <a:close/>
                  <a:moveTo>
                    <a:pt x="464" y="393"/>
                  </a:moveTo>
                  <a:cubicBezTo>
                    <a:pt x="463" y="407"/>
                    <a:pt x="471" y="415"/>
                    <a:pt x="482" y="417"/>
                  </a:cubicBezTo>
                  <a:cubicBezTo>
                    <a:pt x="492" y="419"/>
                    <a:pt x="503" y="416"/>
                    <a:pt x="514" y="408"/>
                  </a:cubicBezTo>
                  <a:cubicBezTo>
                    <a:pt x="525" y="400"/>
                    <a:pt x="528" y="399"/>
                    <a:pt x="535" y="391"/>
                  </a:cubicBezTo>
                  <a:cubicBezTo>
                    <a:pt x="546" y="378"/>
                    <a:pt x="555" y="369"/>
                    <a:pt x="562" y="363"/>
                  </a:cubicBezTo>
                  <a:cubicBezTo>
                    <a:pt x="564" y="362"/>
                    <a:pt x="566" y="361"/>
                    <a:pt x="569" y="360"/>
                  </a:cubicBezTo>
                  <a:cubicBezTo>
                    <a:pt x="570" y="371"/>
                    <a:pt x="592" y="394"/>
                    <a:pt x="601" y="386"/>
                  </a:cubicBezTo>
                  <a:cubicBezTo>
                    <a:pt x="605" y="382"/>
                    <a:pt x="600" y="376"/>
                    <a:pt x="598" y="374"/>
                  </a:cubicBezTo>
                  <a:cubicBezTo>
                    <a:pt x="595" y="371"/>
                    <a:pt x="597" y="356"/>
                    <a:pt x="600" y="354"/>
                  </a:cubicBezTo>
                  <a:cubicBezTo>
                    <a:pt x="616" y="354"/>
                    <a:pt x="627" y="343"/>
                    <a:pt x="628" y="328"/>
                  </a:cubicBezTo>
                  <a:cubicBezTo>
                    <a:pt x="631" y="331"/>
                    <a:pt x="634" y="335"/>
                    <a:pt x="637" y="338"/>
                  </a:cubicBezTo>
                  <a:cubicBezTo>
                    <a:pt x="640" y="342"/>
                    <a:pt x="647" y="344"/>
                    <a:pt x="652" y="345"/>
                  </a:cubicBezTo>
                  <a:cubicBezTo>
                    <a:pt x="661" y="348"/>
                    <a:pt x="672" y="346"/>
                    <a:pt x="676" y="337"/>
                  </a:cubicBezTo>
                  <a:cubicBezTo>
                    <a:pt x="673" y="337"/>
                    <a:pt x="668" y="335"/>
                    <a:pt x="665" y="332"/>
                  </a:cubicBezTo>
                  <a:cubicBezTo>
                    <a:pt x="661" y="328"/>
                    <a:pt x="659" y="325"/>
                    <a:pt x="658" y="315"/>
                  </a:cubicBezTo>
                  <a:cubicBezTo>
                    <a:pt x="657" y="306"/>
                    <a:pt x="655" y="297"/>
                    <a:pt x="657" y="294"/>
                  </a:cubicBezTo>
                  <a:cubicBezTo>
                    <a:pt x="661" y="289"/>
                    <a:pt x="660" y="282"/>
                    <a:pt x="660" y="279"/>
                  </a:cubicBezTo>
                  <a:cubicBezTo>
                    <a:pt x="660" y="268"/>
                    <a:pt x="655" y="263"/>
                    <a:pt x="653" y="259"/>
                  </a:cubicBezTo>
                  <a:cubicBezTo>
                    <a:pt x="660" y="259"/>
                    <a:pt x="667" y="251"/>
                    <a:pt x="670" y="247"/>
                  </a:cubicBezTo>
                  <a:cubicBezTo>
                    <a:pt x="676" y="240"/>
                    <a:pt x="673" y="222"/>
                    <a:pt x="669" y="227"/>
                  </a:cubicBezTo>
                  <a:cubicBezTo>
                    <a:pt x="659" y="237"/>
                    <a:pt x="658" y="234"/>
                    <a:pt x="650" y="227"/>
                  </a:cubicBezTo>
                  <a:cubicBezTo>
                    <a:pt x="636" y="217"/>
                    <a:pt x="628" y="213"/>
                    <a:pt x="601" y="213"/>
                  </a:cubicBezTo>
                  <a:cubicBezTo>
                    <a:pt x="600" y="214"/>
                    <a:pt x="600" y="214"/>
                    <a:pt x="600" y="214"/>
                  </a:cubicBezTo>
                  <a:cubicBezTo>
                    <a:pt x="599" y="222"/>
                    <a:pt x="621" y="222"/>
                    <a:pt x="632" y="230"/>
                  </a:cubicBezTo>
                  <a:cubicBezTo>
                    <a:pt x="642" y="237"/>
                    <a:pt x="649" y="241"/>
                    <a:pt x="664" y="242"/>
                  </a:cubicBezTo>
                  <a:cubicBezTo>
                    <a:pt x="662" y="249"/>
                    <a:pt x="647" y="255"/>
                    <a:pt x="638" y="248"/>
                  </a:cubicBezTo>
                  <a:cubicBezTo>
                    <a:pt x="627" y="239"/>
                    <a:pt x="616" y="241"/>
                    <a:pt x="609" y="246"/>
                  </a:cubicBezTo>
                  <a:cubicBezTo>
                    <a:pt x="610" y="246"/>
                    <a:pt x="610" y="246"/>
                    <a:pt x="610" y="246"/>
                  </a:cubicBezTo>
                  <a:cubicBezTo>
                    <a:pt x="618" y="248"/>
                    <a:pt x="637" y="257"/>
                    <a:pt x="643" y="262"/>
                  </a:cubicBezTo>
                  <a:cubicBezTo>
                    <a:pt x="646" y="265"/>
                    <a:pt x="648" y="269"/>
                    <a:pt x="650" y="272"/>
                  </a:cubicBezTo>
                  <a:cubicBezTo>
                    <a:pt x="653" y="274"/>
                    <a:pt x="654" y="286"/>
                    <a:pt x="651" y="284"/>
                  </a:cubicBezTo>
                  <a:cubicBezTo>
                    <a:pt x="650" y="284"/>
                    <a:pt x="647" y="279"/>
                    <a:pt x="646" y="278"/>
                  </a:cubicBezTo>
                  <a:cubicBezTo>
                    <a:pt x="642" y="274"/>
                    <a:pt x="638" y="271"/>
                    <a:pt x="633" y="269"/>
                  </a:cubicBezTo>
                  <a:cubicBezTo>
                    <a:pt x="628" y="267"/>
                    <a:pt x="616" y="265"/>
                    <a:pt x="615" y="271"/>
                  </a:cubicBezTo>
                  <a:cubicBezTo>
                    <a:pt x="624" y="273"/>
                    <a:pt x="630" y="275"/>
                    <a:pt x="636" y="281"/>
                  </a:cubicBezTo>
                  <a:cubicBezTo>
                    <a:pt x="639" y="284"/>
                    <a:pt x="641" y="285"/>
                    <a:pt x="645" y="290"/>
                  </a:cubicBezTo>
                  <a:cubicBezTo>
                    <a:pt x="648" y="293"/>
                    <a:pt x="648" y="299"/>
                    <a:pt x="649" y="305"/>
                  </a:cubicBezTo>
                  <a:cubicBezTo>
                    <a:pt x="649" y="311"/>
                    <a:pt x="648" y="317"/>
                    <a:pt x="649" y="320"/>
                  </a:cubicBezTo>
                  <a:cubicBezTo>
                    <a:pt x="650" y="324"/>
                    <a:pt x="654" y="335"/>
                    <a:pt x="655" y="337"/>
                  </a:cubicBezTo>
                  <a:cubicBezTo>
                    <a:pt x="638" y="337"/>
                    <a:pt x="624" y="295"/>
                    <a:pt x="610" y="302"/>
                  </a:cubicBezTo>
                  <a:cubicBezTo>
                    <a:pt x="610" y="303"/>
                    <a:pt x="618" y="317"/>
                    <a:pt x="619" y="320"/>
                  </a:cubicBezTo>
                  <a:cubicBezTo>
                    <a:pt x="621" y="327"/>
                    <a:pt x="621" y="337"/>
                    <a:pt x="617" y="341"/>
                  </a:cubicBezTo>
                  <a:cubicBezTo>
                    <a:pt x="614" y="343"/>
                    <a:pt x="607" y="347"/>
                    <a:pt x="604" y="345"/>
                  </a:cubicBezTo>
                  <a:cubicBezTo>
                    <a:pt x="604" y="337"/>
                    <a:pt x="609" y="325"/>
                    <a:pt x="607" y="321"/>
                  </a:cubicBezTo>
                  <a:cubicBezTo>
                    <a:pt x="606" y="320"/>
                    <a:pt x="600" y="318"/>
                    <a:pt x="600" y="322"/>
                  </a:cubicBezTo>
                  <a:cubicBezTo>
                    <a:pt x="600" y="337"/>
                    <a:pt x="597" y="343"/>
                    <a:pt x="592" y="353"/>
                  </a:cubicBezTo>
                  <a:cubicBezTo>
                    <a:pt x="590" y="356"/>
                    <a:pt x="590" y="372"/>
                    <a:pt x="588" y="372"/>
                  </a:cubicBezTo>
                  <a:cubicBezTo>
                    <a:pt x="581" y="374"/>
                    <a:pt x="576" y="356"/>
                    <a:pt x="576" y="349"/>
                  </a:cubicBezTo>
                  <a:cubicBezTo>
                    <a:pt x="576" y="346"/>
                    <a:pt x="581" y="334"/>
                    <a:pt x="576" y="333"/>
                  </a:cubicBezTo>
                  <a:cubicBezTo>
                    <a:pt x="572" y="334"/>
                    <a:pt x="571" y="342"/>
                    <a:pt x="568" y="346"/>
                  </a:cubicBezTo>
                  <a:cubicBezTo>
                    <a:pt x="565" y="348"/>
                    <a:pt x="558" y="352"/>
                    <a:pt x="555" y="354"/>
                  </a:cubicBezTo>
                  <a:cubicBezTo>
                    <a:pt x="537" y="363"/>
                    <a:pt x="557" y="342"/>
                    <a:pt x="559" y="338"/>
                  </a:cubicBezTo>
                  <a:cubicBezTo>
                    <a:pt x="560" y="336"/>
                    <a:pt x="563" y="331"/>
                    <a:pt x="557" y="332"/>
                  </a:cubicBezTo>
                  <a:cubicBezTo>
                    <a:pt x="557" y="332"/>
                    <a:pt x="551" y="338"/>
                    <a:pt x="550" y="339"/>
                  </a:cubicBezTo>
                  <a:cubicBezTo>
                    <a:pt x="548" y="341"/>
                    <a:pt x="543" y="347"/>
                    <a:pt x="541" y="348"/>
                  </a:cubicBezTo>
                  <a:cubicBezTo>
                    <a:pt x="538" y="350"/>
                    <a:pt x="527" y="355"/>
                    <a:pt x="533" y="344"/>
                  </a:cubicBezTo>
                  <a:cubicBezTo>
                    <a:pt x="534" y="343"/>
                    <a:pt x="540" y="334"/>
                    <a:pt x="535" y="334"/>
                  </a:cubicBezTo>
                  <a:cubicBezTo>
                    <a:pt x="535" y="334"/>
                    <a:pt x="531" y="338"/>
                    <a:pt x="530" y="338"/>
                  </a:cubicBezTo>
                  <a:cubicBezTo>
                    <a:pt x="529" y="339"/>
                    <a:pt x="525" y="343"/>
                    <a:pt x="524" y="344"/>
                  </a:cubicBezTo>
                  <a:cubicBezTo>
                    <a:pt x="521" y="347"/>
                    <a:pt x="508" y="355"/>
                    <a:pt x="505" y="355"/>
                  </a:cubicBezTo>
                  <a:cubicBezTo>
                    <a:pt x="504" y="355"/>
                    <a:pt x="507" y="349"/>
                    <a:pt x="507" y="349"/>
                  </a:cubicBezTo>
                  <a:cubicBezTo>
                    <a:pt x="511" y="339"/>
                    <a:pt x="514" y="327"/>
                    <a:pt x="520" y="319"/>
                  </a:cubicBezTo>
                  <a:cubicBezTo>
                    <a:pt x="529" y="309"/>
                    <a:pt x="532" y="311"/>
                    <a:pt x="546" y="311"/>
                  </a:cubicBezTo>
                  <a:cubicBezTo>
                    <a:pt x="555" y="311"/>
                    <a:pt x="563" y="311"/>
                    <a:pt x="571" y="311"/>
                  </a:cubicBezTo>
                  <a:cubicBezTo>
                    <a:pt x="577" y="311"/>
                    <a:pt x="586" y="305"/>
                    <a:pt x="588" y="296"/>
                  </a:cubicBezTo>
                  <a:cubicBezTo>
                    <a:pt x="590" y="292"/>
                    <a:pt x="589" y="287"/>
                    <a:pt x="590" y="282"/>
                  </a:cubicBezTo>
                  <a:cubicBezTo>
                    <a:pt x="590" y="276"/>
                    <a:pt x="588" y="275"/>
                    <a:pt x="587" y="274"/>
                  </a:cubicBezTo>
                  <a:cubicBezTo>
                    <a:pt x="580" y="270"/>
                    <a:pt x="585" y="252"/>
                    <a:pt x="579" y="243"/>
                  </a:cubicBezTo>
                  <a:cubicBezTo>
                    <a:pt x="578" y="241"/>
                    <a:pt x="574" y="236"/>
                    <a:pt x="569" y="233"/>
                  </a:cubicBezTo>
                  <a:cubicBezTo>
                    <a:pt x="565" y="230"/>
                    <a:pt x="559" y="229"/>
                    <a:pt x="555" y="228"/>
                  </a:cubicBezTo>
                  <a:cubicBezTo>
                    <a:pt x="548" y="226"/>
                    <a:pt x="540" y="228"/>
                    <a:pt x="532" y="231"/>
                  </a:cubicBezTo>
                  <a:cubicBezTo>
                    <a:pt x="514" y="239"/>
                    <a:pt x="496" y="241"/>
                    <a:pt x="489" y="240"/>
                  </a:cubicBezTo>
                  <a:cubicBezTo>
                    <a:pt x="480" y="239"/>
                    <a:pt x="477" y="233"/>
                    <a:pt x="474" y="223"/>
                  </a:cubicBezTo>
                  <a:cubicBezTo>
                    <a:pt x="472" y="215"/>
                    <a:pt x="479" y="214"/>
                    <a:pt x="484" y="208"/>
                  </a:cubicBezTo>
                  <a:cubicBezTo>
                    <a:pt x="488" y="203"/>
                    <a:pt x="478" y="206"/>
                    <a:pt x="474" y="208"/>
                  </a:cubicBezTo>
                  <a:cubicBezTo>
                    <a:pt x="471" y="209"/>
                    <a:pt x="470" y="209"/>
                    <a:pt x="468" y="207"/>
                  </a:cubicBezTo>
                  <a:cubicBezTo>
                    <a:pt x="462" y="203"/>
                    <a:pt x="472" y="198"/>
                    <a:pt x="477" y="193"/>
                  </a:cubicBezTo>
                  <a:cubicBezTo>
                    <a:pt x="479" y="191"/>
                    <a:pt x="487" y="186"/>
                    <a:pt x="496" y="182"/>
                  </a:cubicBezTo>
                  <a:cubicBezTo>
                    <a:pt x="503" y="179"/>
                    <a:pt x="508" y="177"/>
                    <a:pt x="511" y="175"/>
                  </a:cubicBezTo>
                  <a:cubicBezTo>
                    <a:pt x="516" y="172"/>
                    <a:pt x="521" y="169"/>
                    <a:pt x="522" y="168"/>
                  </a:cubicBezTo>
                  <a:cubicBezTo>
                    <a:pt x="526" y="165"/>
                    <a:pt x="531" y="156"/>
                    <a:pt x="532" y="154"/>
                  </a:cubicBezTo>
                  <a:cubicBezTo>
                    <a:pt x="537" y="148"/>
                    <a:pt x="548" y="143"/>
                    <a:pt x="554" y="140"/>
                  </a:cubicBezTo>
                  <a:cubicBezTo>
                    <a:pt x="725" y="140"/>
                    <a:pt x="725" y="140"/>
                    <a:pt x="725" y="140"/>
                  </a:cubicBezTo>
                  <a:cubicBezTo>
                    <a:pt x="726" y="140"/>
                    <a:pt x="726" y="140"/>
                    <a:pt x="727" y="140"/>
                  </a:cubicBezTo>
                  <a:cubicBezTo>
                    <a:pt x="720" y="145"/>
                    <a:pt x="715" y="150"/>
                    <a:pt x="711" y="155"/>
                  </a:cubicBezTo>
                  <a:cubicBezTo>
                    <a:pt x="709" y="153"/>
                    <a:pt x="704" y="146"/>
                    <a:pt x="703" y="146"/>
                  </a:cubicBezTo>
                  <a:cubicBezTo>
                    <a:pt x="701" y="146"/>
                    <a:pt x="700" y="147"/>
                    <a:pt x="699" y="147"/>
                  </a:cubicBezTo>
                  <a:cubicBezTo>
                    <a:pt x="698" y="148"/>
                    <a:pt x="704" y="154"/>
                    <a:pt x="706" y="158"/>
                  </a:cubicBezTo>
                  <a:cubicBezTo>
                    <a:pt x="708" y="163"/>
                    <a:pt x="711" y="168"/>
                    <a:pt x="715" y="165"/>
                  </a:cubicBezTo>
                  <a:cubicBezTo>
                    <a:pt x="719" y="161"/>
                    <a:pt x="724" y="155"/>
                    <a:pt x="730" y="150"/>
                  </a:cubicBezTo>
                  <a:cubicBezTo>
                    <a:pt x="734" y="147"/>
                    <a:pt x="739" y="144"/>
                    <a:pt x="744" y="142"/>
                  </a:cubicBezTo>
                  <a:cubicBezTo>
                    <a:pt x="748" y="141"/>
                    <a:pt x="751" y="139"/>
                    <a:pt x="756" y="138"/>
                  </a:cubicBezTo>
                  <a:cubicBezTo>
                    <a:pt x="776" y="134"/>
                    <a:pt x="766" y="145"/>
                    <a:pt x="771" y="155"/>
                  </a:cubicBezTo>
                  <a:cubicBezTo>
                    <a:pt x="780" y="175"/>
                    <a:pt x="773" y="196"/>
                    <a:pt x="766" y="207"/>
                  </a:cubicBezTo>
                  <a:cubicBezTo>
                    <a:pt x="759" y="218"/>
                    <a:pt x="739" y="223"/>
                    <a:pt x="735" y="223"/>
                  </a:cubicBezTo>
                  <a:cubicBezTo>
                    <a:pt x="726" y="221"/>
                    <a:pt x="727" y="224"/>
                    <a:pt x="724" y="218"/>
                  </a:cubicBezTo>
                  <a:cubicBezTo>
                    <a:pt x="722" y="216"/>
                    <a:pt x="719" y="213"/>
                    <a:pt x="717" y="210"/>
                  </a:cubicBezTo>
                  <a:cubicBezTo>
                    <a:pt x="715" y="207"/>
                    <a:pt x="713" y="208"/>
                    <a:pt x="711" y="212"/>
                  </a:cubicBezTo>
                  <a:cubicBezTo>
                    <a:pt x="710" y="215"/>
                    <a:pt x="718" y="222"/>
                    <a:pt x="720" y="227"/>
                  </a:cubicBezTo>
                  <a:cubicBezTo>
                    <a:pt x="722" y="230"/>
                    <a:pt x="724" y="233"/>
                    <a:pt x="726" y="237"/>
                  </a:cubicBezTo>
                  <a:cubicBezTo>
                    <a:pt x="726" y="237"/>
                    <a:pt x="729" y="245"/>
                    <a:pt x="729" y="245"/>
                  </a:cubicBezTo>
                  <a:cubicBezTo>
                    <a:pt x="738" y="262"/>
                    <a:pt x="738" y="296"/>
                    <a:pt x="730" y="313"/>
                  </a:cubicBezTo>
                  <a:cubicBezTo>
                    <a:pt x="729" y="314"/>
                    <a:pt x="728" y="315"/>
                    <a:pt x="728" y="315"/>
                  </a:cubicBezTo>
                  <a:cubicBezTo>
                    <a:pt x="725" y="305"/>
                    <a:pt x="719" y="291"/>
                    <a:pt x="717" y="285"/>
                  </a:cubicBezTo>
                  <a:cubicBezTo>
                    <a:pt x="715" y="280"/>
                    <a:pt x="711" y="273"/>
                    <a:pt x="707" y="267"/>
                  </a:cubicBezTo>
                  <a:cubicBezTo>
                    <a:pt x="702" y="261"/>
                    <a:pt x="697" y="257"/>
                    <a:pt x="692" y="255"/>
                  </a:cubicBezTo>
                  <a:cubicBezTo>
                    <a:pt x="691" y="256"/>
                    <a:pt x="691" y="258"/>
                    <a:pt x="692" y="259"/>
                  </a:cubicBezTo>
                  <a:cubicBezTo>
                    <a:pt x="694" y="262"/>
                    <a:pt x="698" y="266"/>
                    <a:pt x="700" y="269"/>
                  </a:cubicBezTo>
                  <a:cubicBezTo>
                    <a:pt x="704" y="276"/>
                    <a:pt x="708" y="284"/>
                    <a:pt x="710" y="288"/>
                  </a:cubicBezTo>
                  <a:cubicBezTo>
                    <a:pt x="714" y="295"/>
                    <a:pt x="720" y="322"/>
                    <a:pt x="725" y="328"/>
                  </a:cubicBezTo>
                  <a:cubicBezTo>
                    <a:pt x="726" y="330"/>
                    <a:pt x="734" y="338"/>
                    <a:pt x="736" y="340"/>
                  </a:cubicBezTo>
                  <a:cubicBezTo>
                    <a:pt x="741" y="342"/>
                    <a:pt x="749" y="345"/>
                    <a:pt x="756" y="344"/>
                  </a:cubicBezTo>
                  <a:cubicBezTo>
                    <a:pt x="745" y="353"/>
                    <a:pt x="716" y="349"/>
                    <a:pt x="709" y="345"/>
                  </a:cubicBezTo>
                  <a:cubicBezTo>
                    <a:pt x="699" y="338"/>
                    <a:pt x="684" y="323"/>
                    <a:pt x="684" y="317"/>
                  </a:cubicBezTo>
                  <a:cubicBezTo>
                    <a:pt x="673" y="316"/>
                    <a:pt x="688" y="339"/>
                    <a:pt x="691" y="344"/>
                  </a:cubicBezTo>
                  <a:cubicBezTo>
                    <a:pt x="695" y="349"/>
                    <a:pt x="700" y="354"/>
                    <a:pt x="702" y="360"/>
                  </a:cubicBezTo>
                  <a:cubicBezTo>
                    <a:pt x="703" y="364"/>
                    <a:pt x="703" y="367"/>
                    <a:pt x="703" y="376"/>
                  </a:cubicBezTo>
                  <a:cubicBezTo>
                    <a:pt x="695" y="401"/>
                    <a:pt x="693" y="403"/>
                    <a:pt x="687" y="414"/>
                  </a:cubicBezTo>
                  <a:cubicBezTo>
                    <a:pt x="685" y="418"/>
                    <a:pt x="681" y="423"/>
                    <a:pt x="679" y="426"/>
                  </a:cubicBezTo>
                  <a:cubicBezTo>
                    <a:pt x="679" y="426"/>
                    <a:pt x="678" y="427"/>
                    <a:pt x="678" y="426"/>
                  </a:cubicBezTo>
                  <a:cubicBezTo>
                    <a:pt x="677" y="410"/>
                    <a:pt x="677" y="410"/>
                    <a:pt x="677" y="410"/>
                  </a:cubicBezTo>
                  <a:cubicBezTo>
                    <a:pt x="677" y="402"/>
                    <a:pt x="672" y="384"/>
                    <a:pt x="667" y="376"/>
                  </a:cubicBezTo>
                  <a:cubicBezTo>
                    <a:pt x="665" y="371"/>
                    <a:pt x="660" y="367"/>
                    <a:pt x="657" y="362"/>
                  </a:cubicBezTo>
                  <a:cubicBezTo>
                    <a:pt x="655" y="359"/>
                    <a:pt x="645" y="354"/>
                    <a:pt x="645" y="352"/>
                  </a:cubicBezTo>
                  <a:cubicBezTo>
                    <a:pt x="640" y="353"/>
                    <a:pt x="649" y="364"/>
                    <a:pt x="655" y="375"/>
                  </a:cubicBezTo>
                  <a:cubicBezTo>
                    <a:pt x="657" y="379"/>
                    <a:pt x="660" y="382"/>
                    <a:pt x="662" y="390"/>
                  </a:cubicBezTo>
                  <a:cubicBezTo>
                    <a:pt x="664" y="395"/>
                    <a:pt x="667" y="401"/>
                    <a:pt x="668" y="414"/>
                  </a:cubicBezTo>
                  <a:cubicBezTo>
                    <a:pt x="669" y="416"/>
                    <a:pt x="669" y="422"/>
                    <a:pt x="669" y="425"/>
                  </a:cubicBezTo>
                  <a:cubicBezTo>
                    <a:pt x="668" y="437"/>
                    <a:pt x="665" y="442"/>
                    <a:pt x="659" y="453"/>
                  </a:cubicBezTo>
                  <a:cubicBezTo>
                    <a:pt x="654" y="462"/>
                    <a:pt x="651" y="469"/>
                    <a:pt x="644" y="481"/>
                  </a:cubicBezTo>
                  <a:cubicBezTo>
                    <a:pt x="642" y="481"/>
                    <a:pt x="638" y="466"/>
                    <a:pt x="637" y="464"/>
                  </a:cubicBezTo>
                  <a:cubicBezTo>
                    <a:pt x="633" y="453"/>
                    <a:pt x="629" y="441"/>
                    <a:pt x="621" y="434"/>
                  </a:cubicBezTo>
                  <a:cubicBezTo>
                    <a:pt x="617" y="430"/>
                    <a:pt x="611" y="422"/>
                    <a:pt x="607" y="416"/>
                  </a:cubicBezTo>
                  <a:cubicBezTo>
                    <a:pt x="606" y="414"/>
                    <a:pt x="603" y="411"/>
                    <a:pt x="602" y="409"/>
                  </a:cubicBezTo>
                  <a:cubicBezTo>
                    <a:pt x="602" y="407"/>
                    <a:pt x="602" y="405"/>
                    <a:pt x="601" y="403"/>
                  </a:cubicBezTo>
                  <a:cubicBezTo>
                    <a:pt x="588" y="407"/>
                    <a:pt x="617" y="446"/>
                    <a:pt x="622" y="453"/>
                  </a:cubicBezTo>
                  <a:cubicBezTo>
                    <a:pt x="623" y="455"/>
                    <a:pt x="627" y="462"/>
                    <a:pt x="629" y="471"/>
                  </a:cubicBezTo>
                  <a:cubicBezTo>
                    <a:pt x="635" y="491"/>
                    <a:pt x="635" y="493"/>
                    <a:pt x="648" y="518"/>
                  </a:cubicBezTo>
                  <a:cubicBezTo>
                    <a:pt x="649" y="521"/>
                    <a:pt x="654" y="526"/>
                    <a:pt x="664" y="529"/>
                  </a:cubicBezTo>
                  <a:cubicBezTo>
                    <a:pt x="670" y="532"/>
                    <a:pt x="675" y="531"/>
                    <a:pt x="665" y="539"/>
                  </a:cubicBezTo>
                  <a:cubicBezTo>
                    <a:pt x="658" y="544"/>
                    <a:pt x="641" y="547"/>
                    <a:pt x="634" y="545"/>
                  </a:cubicBezTo>
                  <a:cubicBezTo>
                    <a:pt x="629" y="544"/>
                    <a:pt x="618" y="545"/>
                    <a:pt x="608" y="537"/>
                  </a:cubicBezTo>
                  <a:cubicBezTo>
                    <a:pt x="594" y="528"/>
                    <a:pt x="586" y="511"/>
                    <a:pt x="576" y="499"/>
                  </a:cubicBezTo>
                  <a:cubicBezTo>
                    <a:pt x="570" y="492"/>
                    <a:pt x="555" y="473"/>
                    <a:pt x="546" y="473"/>
                  </a:cubicBezTo>
                  <a:cubicBezTo>
                    <a:pt x="538" y="473"/>
                    <a:pt x="557" y="489"/>
                    <a:pt x="559" y="491"/>
                  </a:cubicBezTo>
                  <a:cubicBezTo>
                    <a:pt x="572" y="505"/>
                    <a:pt x="584" y="541"/>
                    <a:pt x="609" y="548"/>
                  </a:cubicBezTo>
                  <a:cubicBezTo>
                    <a:pt x="612" y="549"/>
                    <a:pt x="613" y="549"/>
                    <a:pt x="615" y="550"/>
                  </a:cubicBezTo>
                  <a:cubicBezTo>
                    <a:pt x="617" y="551"/>
                    <a:pt x="615" y="554"/>
                    <a:pt x="613" y="559"/>
                  </a:cubicBezTo>
                  <a:cubicBezTo>
                    <a:pt x="609" y="570"/>
                    <a:pt x="609" y="577"/>
                    <a:pt x="598" y="596"/>
                  </a:cubicBezTo>
                  <a:cubicBezTo>
                    <a:pt x="595" y="601"/>
                    <a:pt x="589" y="607"/>
                    <a:pt x="585" y="611"/>
                  </a:cubicBezTo>
                  <a:cubicBezTo>
                    <a:pt x="577" y="617"/>
                    <a:pt x="568" y="626"/>
                    <a:pt x="559" y="631"/>
                  </a:cubicBezTo>
                  <a:cubicBezTo>
                    <a:pt x="556" y="632"/>
                    <a:pt x="551" y="633"/>
                    <a:pt x="548" y="633"/>
                  </a:cubicBezTo>
                  <a:cubicBezTo>
                    <a:pt x="542" y="634"/>
                    <a:pt x="547" y="632"/>
                    <a:pt x="549" y="626"/>
                  </a:cubicBezTo>
                  <a:cubicBezTo>
                    <a:pt x="557" y="602"/>
                    <a:pt x="554" y="609"/>
                    <a:pt x="558" y="599"/>
                  </a:cubicBezTo>
                  <a:cubicBezTo>
                    <a:pt x="560" y="595"/>
                    <a:pt x="574" y="569"/>
                    <a:pt x="568" y="566"/>
                  </a:cubicBezTo>
                  <a:cubicBezTo>
                    <a:pt x="549" y="583"/>
                    <a:pt x="548" y="610"/>
                    <a:pt x="537" y="624"/>
                  </a:cubicBezTo>
                  <a:cubicBezTo>
                    <a:pt x="531" y="631"/>
                    <a:pt x="505" y="656"/>
                    <a:pt x="498" y="658"/>
                  </a:cubicBezTo>
                  <a:cubicBezTo>
                    <a:pt x="489" y="661"/>
                    <a:pt x="493" y="657"/>
                    <a:pt x="497" y="648"/>
                  </a:cubicBezTo>
                  <a:cubicBezTo>
                    <a:pt x="503" y="634"/>
                    <a:pt x="505" y="604"/>
                    <a:pt x="507" y="586"/>
                  </a:cubicBezTo>
                  <a:cubicBezTo>
                    <a:pt x="512" y="546"/>
                    <a:pt x="534" y="539"/>
                    <a:pt x="534" y="521"/>
                  </a:cubicBezTo>
                  <a:cubicBezTo>
                    <a:pt x="527" y="517"/>
                    <a:pt x="502" y="558"/>
                    <a:pt x="495" y="564"/>
                  </a:cubicBezTo>
                  <a:cubicBezTo>
                    <a:pt x="493" y="565"/>
                    <a:pt x="480" y="576"/>
                    <a:pt x="469" y="581"/>
                  </a:cubicBezTo>
                  <a:cubicBezTo>
                    <a:pt x="465" y="582"/>
                    <a:pt x="444" y="588"/>
                    <a:pt x="436" y="588"/>
                  </a:cubicBezTo>
                  <a:cubicBezTo>
                    <a:pt x="432" y="588"/>
                    <a:pt x="405" y="586"/>
                    <a:pt x="412" y="585"/>
                  </a:cubicBezTo>
                  <a:cubicBezTo>
                    <a:pt x="428" y="578"/>
                    <a:pt x="439" y="568"/>
                    <a:pt x="451" y="556"/>
                  </a:cubicBezTo>
                  <a:cubicBezTo>
                    <a:pt x="459" y="547"/>
                    <a:pt x="469" y="538"/>
                    <a:pt x="479" y="530"/>
                  </a:cubicBezTo>
                  <a:cubicBezTo>
                    <a:pt x="480" y="529"/>
                    <a:pt x="481" y="528"/>
                    <a:pt x="481" y="527"/>
                  </a:cubicBezTo>
                  <a:cubicBezTo>
                    <a:pt x="482" y="526"/>
                    <a:pt x="482" y="521"/>
                    <a:pt x="481" y="521"/>
                  </a:cubicBezTo>
                  <a:cubicBezTo>
                    <a:pt x="467" y="529"/>
                    <a:pt x="450" y="543"/>
                    <a:pt x="434" y="557"/>
                  </a:cubicBezTo>
                  <a:cubicBezTo>
                    <a:pt x="425" y="564"/>
                    <a:pt x="417" y="571"/>
                    <a:pt x="401" y="577"/>
                  </a:cubicBezTo>
                  <a:cubicBezTo>
                    <a:pt x="391" y="580"/>
                    <a:pt x="383" y="585"/>
                    <a:pt x="374" y="586"/>
                  </a:cubicBezTo>
                  <a:cubicBezTo>
                    <a:pt x="368" y="586"/>
                    <a:pt x="376" y="580"/>
                    <a:pt x="378" y="578"/>
                  </a:cubicBezTo>
                  <a:cubicBezTo>
                    <a:pt x="382" y="574"/>
                    <a:pt x="386" y="568"/>
                    <a:pt x="390" y="561"/>
                  </a:cubicBezTo>
                  <a:cubicBezTo>
                    <a:pt x="392" y="558"/>
                    <a:pt x="394" y="555"/>
                    <a:pt x="396" y="551"/>
                  </a:cubicBezTo>
                  <a:cubicBezTo>
                    <a:pt x="398" y="548"/>
                    <a:pt x="400" y="545"/>
                    <a:pt x="402" y="542"/>
                  </a:cubicBezTo>
                  <a:cubicBezTo>
                    <a:pt x="410" y="530"/>
                    <a:pt x="420" y="513"/>
                    <a:pt x="432" y="498"/>
                  </a:cubicBezTo>
                  <a:cubicBezTo>
                    <a:pt x="440" y="488"/>
                    <a:pt x="452" y="475"/>
                    <a:pt x="462" y="469"/>
                  </a:cubicBezTo>
                  <a:cubicBezTo>
                    <a:pt x="480" y="470"/>
                    <a:pt x="490" y="465"/>
                    <a:pt x="499" y="460"/>
                  </a:cubicBezTo>
                  <a:cubicBezTo>
                    <a:pt x="502" y="459"/>
                    <a:pt x="522" y="441"/>
                    <a:pt x="519" y="441"/>
                  </a:cubicBezTo>
                  <a:cubicBezTo>
                    <a:pt x="506" y="442"/>
                    <a:pt x="494" y="455"/>
                    <a:pt x="482" y="457"/>
                  </a:cubicBezTo>
                  <a:cubicBezTo>
                    <a:pt x="476" y="459"/>
                    <a:pt x="465" y="460"/>
                    <a:pt x="459" y="458"/>
                  </a:cubicBezTo>
                  <a:cubicBezTo>
                    <a:pt x="455" y="457"/>
                    <a:pt x="452" y="454"/>
                    <a:pt x="448" y="450"/>
                  </a:cubicBezTo>
                  <a:cubicBezTo>
                    <a:pt x="439" y="440"/>
                    <a:pt x="444" y="417"/>
                    <a:pt x="450" y="407"/>
                  </a:cubicBezTo>
                  <a:cubicBezTo>
                    <a:pt x="453" y="403"/>
                    <a:pt x="463" y="392"/>
                    <a:pt x="464" y="393"/>
                  </a:cubicBezTo>
                  <a:close/>
                  <a:moveTo>
                    <a:pt x="262" y="107"/>
                  </a:moveTo>
                  <a:cubicBezTo>
                    <a:pt x="266" y="104"/>
                    <a:pt x="271" y="100"/>
                    <a:pt x="274" y="95"/>
                  </a:cubicBezTo>
                  <a:cubicBezTo>
                    <a:pt x="275" y="93"/>
                    <a:pt x="276" y="92"/>
                    <a:pt x="277" y="90"/>
                  </a:cubicBezTo>
                  <a:cubicBezTo>
                    <a:pt x="277" y="90"/>
                    <a:pt x="277" y="89"/>
                    <a:pt x="278" y="89"/>
                  </a:cubicBezTo>
                  <a:cubicBezTo>
                    <a:pt x="281" y="98"/>
                    <a:pt x="278" y="116"/>
                    <a:pt x="271" y="127"/>
                  </a:cubicBezTo>
                  <a:cubicBezTo>
                    <a:pt x="267" y="135"/>
                    <a:pt x="262" y="137"/>
                    <a:pt x="257" y="134"/>
                  </a:cubicBezTo>
                  <a:cubicBezTo>
                    <a:pt x="253" y="132"/>
                    <a:pt x="250" y="129"/>
                    <a:pt x="250" y="125"/>
                  </a:cubicBezTo>
                  <a:cubicBezTo>
                    <a:pt x="249" y="121"/>
                    <a:pt x="251" y="117"/>
                    <a:pt x="255" y="113"/>
                  </a:cubicBezTo>
                  <a:cubicBezTo>
                    <a:pt x="257" y="111"/>
                    <a:pt x="259" y="109"/>
                    <a:pt x="262" y="107"/>
                  </a:cubicBezTo>
                  <a:close/>
                  <a:moveTo>
                    <a:pt x="132" y="61"/>
                  </a:moveTo>
                  <a:cubicBezTo>
                    <a:pt x="133" y="61"/>
                    <a:pt x="133" y="61"/>
                    <a:pt x="133" y="61"/>
                  </a:cubicBezTo>
                  <a:cubicBezTo>
                    <a:pt x="141" y="62"/>
                    <a:pt x="153" y="68"/>
                    <a:pt x="159" y="74"/>
                  </a:cubicBezTo>
                  <a:cubicBezTo>
                    <a:pt x="167" y="82"/>
                    <a:pt x="171" y="90"/>
                    <a:pt x="169" y="95"/>
                  </a:cubicBezTo>
                  <a:cubicBezTo>
                    <a:pt x="169" y="99"/>
                    <a:pt x="165" y="102"/>
                    <a:pt x="159" y="104"/>
                  </a:cubicBezTo>
                  <a:cubicBezTo>
                    <a:pt x="156" y="106"/>
                    <a:pt x="152" y="105"/>
                    <a:pt x="148" y="103"/>
                  </a:cubicBezTo>
                  <a:cubicBezTo>
                    <a:pt x="145" y="100"/>
                    <a:pt x="142" y="97"/>
                    <a:pt x="142" y="94"/>
                  </a:cubicBezTo>
                  <a:cubicBezTo>
                    <a:pt x="141" y="81"/>
                    <a:pt x="134" y="69"/>
                    <a:pt x="129" y="61"/>
                  </a:cubicBezTo>
                  <a:cubicBezTo>
                    <a:pt x="130" y="61"/>
                    <a:pt x="131" y="61"/>
                    <a:pt x="132" y="61"/>
                  </a:cubicBezTo>
                  <a:close/>
                  <a:moveTo>
                    <a:pt x="63" y="184"/>
                  </a:moveTo>
                  <a:cubicBezTo>
                    <a:pt x="66" y="181"/>
                    <a:pt x="70" y="178"/>
                    <a:pt x="72" y="177"/>
                  </a:cubicBezTo>
                  <a:cubicBezTo>
                    <a:pt x="83" y="171"/>
                    <a:pt x="91" y="171"/>
                    <a:pt x="99" y="175"/>
                  </a:cubicBezTo>
                  <a:cubicBezTo>
                    <a:pt x="107" y="178"/>
                    <a:pt x="109" y="181"/>
                    <a:pt x="109" y="189"/>
                  </a:cubicBezTo>
                  <a:cubicBezTo>
                    <a:pt x="108" y="194"/>
                    <a:pt x="106" y="197"/>
                    <a:pt x="100" y="199"/>
                  </a:cubicBezTo>
                  <a:cubicBezTo>
                    <a:pt x="92" y="202"/>
                    <a:pt x="89" y="200"/>
                    <a:pt x="82" y="196"/>
                  </a:cubicBezTo>
                  <a:cubicBezTo>
                    <a:pt x="79" y="195"/>
                    <a:pt x="79" y="195"/>
                    <a:pt x="79" y="195"/>
                  </a:cubicBezTo>
                  <a:cubicBezTo>
                    <a:pt x="78" y="194"/>
                    <a:pt x="75" y="192"/>
                    <a:pt x="63" y="184"/>
                  </a:cubicBezTo>
                  <a:close/>
                  <a:moveTo>
                    <a:pt x="154" y="340"/>
                  </a:moveTo>
                  <a:cubicBezTo>
                    <a:pt x="147" y="339"/>
                    <a:pt x="140" y="336"/>
                    <a:pt x="135" y="334"/>
                  </a:cubicBezTo>
                  <a:cubicBezTo>
                    <a:pt x="136" y="333"/>
                    <a:pt x="138" y="333"/>
                    <a:pt x="139" y="332"/>
                  </a:cubicBezTo>
                  <a:cubicBezTo>
                    <a:pt x="146" y="329"/>
                    <a:pt x="152" y="323"/>
                    <a:pt x="155" y="318"/>
                  </a:cubicBezTo>
                  <a:cubicBezTo>
                    <a:pt x="156" y="317"/>
                    <a:pt x="158" y="316"/>
                    <a:pt x="161" y="315"/>
                  </a:cubicBezTo>
                  <a:cubicBezTo>
                    <a:pt x="163" y="314"/>
                    <a:pt x="167" y="314"/>
                    <a:pt x="169" y="314"/>
                  </a:cubicBezTo>
                  <a:cubicBezTo>
                    <a:pt x="173" y="315"/>
                    <a:pt x="175" y="316"/>
                    <a:pt x="176" y="317"/>
                  </a:cubicBezTo>
                  <a:cubicBezTo>
                    <a:pt x="178" y="320"/>
                    <a:pt x="178" y="321"/>
                    <a:pt x="178" y="323"/>
                  </a:cubicBezTo>
                  <a:cubicBezTo>
                    <a:pt x="178" y="330"/>
                    <a:pt x="176" y="334"/>
                    <a:pt x="172" y="337"/>
                  </a:cubicBezTo>
                  <a:cubicBezTo>
                    <a:pt x="168" y="340"/>
                    <a:pt x="162" y="341"/>
                    <a:pt x="154" y="340"/>
                  </a:cubicBezTo>
                  <a:close/>
                  <a:moveTo>
                    <a:pt x="344" y="545"/>
                  </a:moveTo>
                  <a:cubicBezTo>
                    <a:pt x="355" y="528"/>
                    <a:pt x="362" y="525"/>
                    <a:pt x="376" y="518"/>
                  </a:cubicBezTo>
                  <a:cubicBezTo>
                    <a:pt x="369" y="513"/>
                    <a:pt x="354" y="519"/>
                    <a:pt x="346" y="521"/>
                  </a:cubicBezTo>
                  <a:cubicBezTo>
                    <a:pt x="325" y="527"/>
                    <a:pt x="310" y="529"/>
                    <a:pt x="303" y="537"/>
                  </a:cubicBezTo>
                  <a:cubicBezTo>
                    <a:pt x="302" y="525"/>
                    <a:pt x="303" y="516"/>
                    <a:pt x="307" y="506"/>
                  </a:cubicBezTo>
                  <a:cubicBezTo>
                    <a:pt x="312" y="492"/>
                    <a:pt x="320" y="491"/>
                    <a:pt x="338" y="489"/>
                  </a:cubicBezTo>
                  <a:cubicBezTo>
                    <a:pt x="339" y="482"/>
                    <a:pt x="319" y="488"/>
                    <a:pt x="306" y="488"/>
                  </a:cubicBezTo>
                  <a:cubicBezTo>
                    <a:pt x="299" y="488"/>
                    <a:pt x="295" y="488"/>
                    <a:pt x="289" y="486"/>
                  </a:cubicBezTo>
                  <a:cubicBezTo>
                    <a:pt x="286" y="485"/>
                    <a:pt x="284" y="483"/>
                    <a:pt x="282" y="481"/>
                  </a:cubicBezTo>
                  <a:cubicBezTo>
                    <a:pt x="281" y="480"/>
                    <a:pt x="278" y="476"/>
                    <a:pt x="277" y="475"/>
                  </a:cubicBezTo>
                  <a:cubicBezTo>
                    <a:pt x="285" y="475"/>
                    <a:pt x="308" y="471"/>
                    <a:pt x="317" y="462"/>
                  </a:cubicBezTo>
                  <a:cubicBezTo>
                    <a:pt x="316" y="458"/>
                    <a:pt x="305" y="463"/>
                    <a:pt x="293" y="464"/>
                  </a:cubicBezTo>
                  <a:cubicBezTo>
                    <a:pt x="275" y="465"/>
                    <a:pt x="261" y="466"/>
                    <a:pt x="259" y="457"/>
                  </a:cubicBezTo>
                  <a:cubicBezTo>
                    <a:pt x="263" y="456"/>
                    <a:pt x="267" y="455"/>
                    <a:pt x="271" y="453"/>
                  </a:cubicBezTo>
                  <a:cubicBezTo>
                    <a:pt x="273" y="452"/>
                    <a:pt x="276" y="450"/>
                    <a:pt x="279" y="449"/>
                  </a:cubicBezTo>
                  <a:cubicBezTo>
                    <a:pt x="281" y="447"/>
                    <a:pt x="281" y="448"/>
                    <a:pt x="287" y="442"/>
                  </a:cubicBezTo>
                  <a:cubicBezTo>
                    <a:pt x="291" y="439"/>
                    <a:pt x="294" y="436"/>
                    <a:pt x="299" y="436"/>
                  </a:cubicBezTo>
                  <a:cubicBezTo>
                    <a:pt x="299" y="430"/>
                    <a:pt x="287" y="434"/>
                    <a:pt x="283" y="436"/>
                  </a:cubicBezTo>
                  <a:cubicBezTo>
                    <a:pt x="277" y="440"/>
                    <a:pt x="265" y="446"/>
                    <a:pt x="258" y="447"/>
                  </a:cubicBezTo>
                  <a:cubicBezTo>
                    <a:pt x="254" y="448"/>
                    <a:pt x="249" y="448"/>
                    <a:pt x="244" y="448"/>
                  </a:cubicBezTo>
                  <a:cubicBezTo>
                    <a:pt x="242" y="448"/>
                    <a:pt x="239" y="448"/>
                    <a:pt x="237" y="449"/>
                  </a:cubicBezTo>
                  <a:cubicBezTo>
                    <a:pt x="235" y="450"/>
                    <a:pt x="232" y="451"/>
                    <a:pt x="230" y="454"/>
                  </a:cubicBezTo>
                  <a:cubicBezTo>
                    <a:pt x="232" y="440"/>
                    <a:pt x="237" y="427"/>
                    <a:pt x="252" y="418"/>
                  </a:cubicBezTo>
                  <a:cubicBezTo>
                    <a:pt x="259" y="415"/>
                    <a:pt x="258" y="416"/>
                    <a:pt x="264" y="414"/>
                  </a:cubicBezTo>
                  <a:cubicBezTo>
                    <a:pt x="270" y="412"/>
                    <a:pt x="276" y="410"/>
                    <a:pt x="277" y="404"/>
                  </a:cubicBezTo>
                  <a:cubicBezTo>
                    <a:pt x="272" y="402"/>
                    <a:pt x="266" y="409"/>
                    <a:pt x="259" y="409"/>
                  </a:cubicBezTo>
                  <a:cubicBezTo>
                    <a:pt x="253" y="409"/>
                    <a:pt x="245" y="410"/>
                    <a:pt x="240" y="407"/>
                  </a:cubicBezTo>
                  <a:cubicBezTo>
                    <a:pt x="233" y="405"/>
                    <a:pt x="230" y="403"/>
                    <a:pt x="225" y="398"/>
                  </a:cubicBezTo>
                  <a:cubicBezTo>
                    <a:pt x="223" y="395"/>
                    <a:pt x="221" y="394"/>
                    <a:pt x="220" y="390"/>
                  </a:cubicBezTo>
                  <a:cubicBezTo>
                    <a:pt x="220" y="390"/>
                    <a:pt x="231" y="393"/>
                    <a:pt x="237" y="386"/>
                  </a:cubicBezTo>
                  <a:cubicBezTo>
                    <a:pt x="241" y="382"/>
                    <a:pt x="244" y="376"/>
                    <a:pt x="244" y="371"/>
                  </a:cubicBezTo>
                  <a:cubicBezTo>
                    <a:pt x="246" y="353"/>
                    <a:pt x="239" y="350"/>
                    <a:pt x="229" y="338"/>
                  </a:cubicBezTo>
                  <a:cubicBezTo>
                    <a:pt x="223" y="331"/>
                    <a:pt x="219" y="324"/>
                    <a:pt x="215" y="319"/>
                  </a:cubicBezTo>
                  <a:cubicBezTo>
                    <a:pt x="212" y="316"/>
                    <a:pt x="209" y="321"/>
                    <a:pt x="210" y="326"/>
                  </a:cubicBezTo>
                  <a:cubicBezTo>
                    <a:pt x="210" y="326"/>
                    <a:pt x="211" y="327"/>
                    <a:pt x="211" y="327"/>
                  </a:cubicBezTo>
                  <a:cubicBezTo>
                    <a:pt x="207" y="335"/>
                    <a:pt x="199" y="344"/>
                    <a:pt x="190" y="348"/>
                  </a:cubicBezTo>
                  <a:cubicBezTo>
                    <a:pt x="186" y="350"/>
                    <a:pt x="181" y="348"/>
                    <a:pt x="177" y="344"/>
                  </a:cubicBezTo>
                  <a:cubicBezTo>
                    <a:pt x="177" y="344"/>
                    <a:pt x="177" y="344"/>
                    <a:pt x="178" y="344"/>
                  </a:cubicBezTo>
                  <a:cubicBezTo>
                    <a:pt x="183" y="340"/>
                    <a:pt x="186" y="333"/>
                    <a:pt x="187" y="323"/>
                  </a:cubicBezTo>
                  <a:cubicBezTo>
                    <a:pt x="187" y="318"/>
                    <a:pt x="185" y="315"/>
                    <a:pt x="183" y="312"/>
                  </a:cubicBezTo>
                  <a:cubicBezTo>
                    <a:pt x="180" y="308"/>
                    <a:pt x="175" y="307"/>
                    <a:pt x="171" y="306"/>
                  </a:cubicBezTo>
                  <a:cubicBezTo>
                    <a:pt x="167" y="305"/>
                    <a:pt x="162" y="305"/>
                    <a:pt x="158" y="306"/>
                  </a:cubicBezTo>
                  <a:cubicBezTo>
                    <a:pt x="158" y="307"/>
                    <a:pt x="157" y="307"/>
                    <a:pt x="157" y="307"/>
                  </a:cubicBezTo>
                  <a:cubicBezTo>
                    <a:pt x="156" y="298"/>
                    <a:pt x="157" y="295"/>
                    <a:pt x="157" y="293"/>
                  </a:cubicBezTo>
                  <a:cubicBezTo>
                    <a:pt x="159" y="288"/>
                    <a:pt x="161" y="286"/>
                    <a:pt x="167" y="280"/>
                  </a:cubicBezTo>
                  <a:cubicBezTo>
                    <a:pt x="171" y="276"/>
                    <a:pt x="171" y="276"/>
                    <a:pt x="176" y="274"/>
                  </a:cubicBezTo>
                  <a:cubicBezTo>
                    <a:pt x="181" y="272"/>
                    <a:pt x="188" y="275"/>
                    <a:pt x="188" y="268"/>
                  </a:cubicBezTo>
                  <a:cubicBezTo>
                    <a:pt x="183" y="267"/>
                    <a:pt x="180" y="265"/>
                    <a:pt x="176" y="266"/>
                  </a:cubicBezTo>
                  <a:cubicBezTo>
                    <a:pt x="167" y="260"/>
                    <a:pt x="153" y="250"/>
                    <a:pt x="149" y="238"/>
                  </a:cubicBezTo>
                  <a:cubicBezTo>
                    <a:pt x="151" y="235"/>
                    <a:pt x="151" y="232"/>
                    <a:pt x="149" y="230"/>
                  </a:cubicBezTo>
                  <a:cubicBezTo>
                    <a:pt x="140" y="227"/>
                    <a:pt x="146" y="241"/>
                    <a:pt x="131" y="243"/>
                  </a:cubicBezTo>
                  <a:cubicBezTo>
                    <a:pt x="112" y="246"/>
                    <a:pt x="96" y="240"/>
                    <a:pt x="88" y="222"/>
                  </a:cubicBezTo>
                  <a:cubicBezTo>
                    <a:pt x="87" y="220"/>
                    <a:pt x="85" y="213"/>
                    <a:pt x="86" y="208"/>
                  </a:cubicBezTo>
                  <a:cubicBezTo>
                    <a:pt x="88" y="209"/>
                    <a:pt x="91" y="209"/>
                    <a:pt x="93" y="209"/>
                  </a:cubicBezTo>
                  <a:cubicBezTo>
                    <a:pt x="96" y="209"/>
                    <a:pt x="100" y="209"/>
                    <a:pt x="103" y="207"/>
                  </a:cubicBezTo>
                  <a:cubicBezTo>
                    <a:pt x="109" y="205"/>
                    <a:pt x="117" y="201"/>
                    <a:pt x="117" y="189"/>
                  </a:cubicBezTo>
                  <a:cubicBezTo>
                    <a:pt x="118" y="177"/>
                    <a:pt x="113" y="172"/>
                    <a:pt x="103" y="167"/>
                  </a:cubicBezTo>
                  <a:cubicBezTo>
                    <a:pt x="101" y="166"/>
                    <a:pt x="99" y="166"/>
                    <a:pt x="97" y="165"/>
                  </a:cubicBezTo>
                  <a:cubicBezTo>
                    <a:pt x="104" y="156"/>
                    <a:pt x="128" y="150"/>
                    <a:pt x="140" y="160"/>
                  </a:cubicBezTo>
                  <a:cubicBezTo>
                    <a:pt x="143" y="162"/>
                    <a:pt x="145" y="164"/>
                    <a:pt x="148" y="167"/>
                  </a:cubicBezTo>
                  <a:cubicBezTo>
                    <a:pt x="148" y="169"/>
                    <a:pt x="149" y="171"/>
                    <a:pt x="151" y="174"/>
                  </a:cubicBezTo>
                  <a:cubicBezTo>
                    <a:pt x="152" y="176"/>
                    <a:pt x="153" y="187"/>
                    <a:pt x="157" y="187"/>
                  </a:cubicBezTo>
                  <a:cubicBezTo>
                    <a:pt x="162" y="188"/>
                    <a:pt x="161" y="184"/>
                    <a:pt x="160" y="180"/>
                  </a:cubicBezTo>
                  <a:cubicBezTo>
                    <a:pt x="166" y="186"/>
                    <a:pt x="171" y="192"/>
                    <a:pt x="177" y="197"/>
                  </a:cubicBezTo>
                  <a:cubicBezTo>
                    <a:pt x="181" y="200"/>
                    <a:pt x="202" y="213"/>
                    <a:pt x="209" y="217"/>
                  </a:cubicBezTo>
                  <a:cubicBezTo>
                    <a:pt x="214" y="219"/>
                    <a:pt x="220" y="223"/>
                    <a:pt x="224" y="224"/>
                  </a:cubicBezTo>
                  <a:cubicBezTo>
                    <a:pt x="228" y="225"/>
                    <a:pt x="230" y="226"/>
                    <a:pt x="229" y="219"/>
                  </a:cubicBezTo>
                  <a:cubicBezTo>
                    <a:pt x="228" y="218"/>
                    <a:pt x="222" y="213"/>
                    <a:pt x="214" y="208"/>
                  </a:cubicBezTo>
                  <a:cubicBezTo>
                    <a:pt x="207" y="204"/>
                    <a:pt x="198" y="199"/>
                    <a:pt x="193" y="195"/>
                  </a:cubicBezTo>
                  <a:cubicBezTo>
                    <a:pt x="166" y="173"/>
                    <a:pt x="169" y="173"/>
                    <a:pt x="160" y="162"/>
                  </a:cubicBezTo>
                  <a:cubicBezTo>
                    <a:pt x="160" y="161"/>
                    <a:pt x="160" y="160"/>
                    <a:pt x="161" y="160"/>
                  </a:cubicBezTo>
                  <a:cubicBezTo>
                    <a:pt x="162" y="159"/>
                    <a:pt x="163" y="158"/>
                    <a:pt x="164" y="157"/>
                  </a:cubicBezTo>
                  <a:cubicBezTo>
                    <a:pt x="165" y="157"/>
                    <a:pt x="167" y="155"/>
                    <a:pt x="167" y="154"/>
                  </a:cubicBezTo>
                  <a:cubicBezTo>
                    <a:pt x="166" y="153"/>
                    <a:pt x="165" y="152"/>
                    <a:pt x="163" y="152"/>
                  </a:cubicBezTo>
                  <a:cubicBezTo>
                    <a:pt x="161" y="151"/>
                    <a:pt x="160" y="152"/>
                    <a:pt x="159" y="153"/>
                  </a:cubicBezTo>
                  <a:cubicBezTo>
                    <a:pt x="157" y="154"/>
                    <a:pt x="156" y="156"/>
                    <a:pt x="155" y="157"/>
                  </a:cubicBezTo>
                  <a:cubicBezTo>
                    <a:pt x="145" y="148"/>
                    <a:pt x="133" y="144"/>
                    <a:pt x="121" y="145"/>
                  </a:cubicBezTo>
                  <a:cubicBezTo>
                    <a:pt x="120" y="141"/>
                    <a:pt x="119" y="134"/>
                    <a:pt x="119" y="132"/>
                  </a:cubicBezTo>
                  <a:cubicBezTo>
                    <a:pt x="119" y="128"/>
                    <a:pt x="119" y="122"/>
                    <a:pt x="119" y="118"/>
                  </a:cubicBezTo>
                  <a:cubicBezTo>
                    <a:pt x="121" y="109"/>
                    <a:pt x="128" y="102"/>
                    <a:pt x="134" y="98"/>
                  </a:cubicBezTo>
                  <a:cubicBezTo>
                    <a:pt x="136" y="102"/>
                    <a:pt x="138" y="107"/>
                    <a:pt x="143" y="110"/>
                  </a:cubicBezTo>
                  <a:cubicBezTo>
                    <a:pt x="147" y="113"/>
                    <a:pt x="152" y="114"/>
                    <a:pt x="156" y="114"/>
                  </a:cubicBezTo>
                  <a:cubicBezTo>
                    <a:pt x="158" y="114"/>
                    <a:pt x="160" y="113"/>
                    <a:pt x="163" y="113"/>
                  </a:cubicBezTo>
                  <a:cubicBezTo>
                    <a:pt x="171" y="109"/>
                    <a:pt x="177" y="104"/>
                    <a:pt x="178" y="97"/>
                  </a:cubicBezTo>
                  <a:cubicBezTo>
                    <a:pt x="179" y="93"/>
                    <a:pt x="178" y="88"/>
                    <a:pt x="176" y="84"/>
                  </a:cubicBezTo>
                  <a:cubicBezTo>
                    <a:pt x="198" y="87"/>
                    <a:pt x="204" y="102"/>
                    <a:pt x="207" y="119"/>
                  </a:cubicBezTo>
                  <a:cubicBezTo>
                    <a:pt x="205" y="121"/>
                    <a:pt x="202" y="124"/>
                    <a:pt x="202" y="126"/>
                  </a:cubicBezTo>
                  <a:cubicBezTo>
                    <a:pt x="201" y="127"/>
                    <a:pt x="195" y="131"/>
                    <a:pt x="197" y="132"/>
                  </a:cubicBezTo>
                  <a:cubicBezTo>
                    <a:pt x="200" y="137"/>
                    <a:pt x="206" y="130"/>
                    <a:pt x="207" y="129"/>
                  </a:cubicBezTo>
                  <a:cubicBezTo>
                    <a:pt x="207" y="128"/>
                    <a:pt x="208" y="127"/>
                    <a:pt x="208" y="127"/>
                  </a:cubicBezTo>
                  <a:cubicBezTo>
                    <a:pt x="209" y="130"/>
                    <a:pt x="209" y="134"/>
                    <a:pt x="209" y="137"/>
                  </a:cubicBezTo>
                  <a:cubicBezTo>
                    <a:pt x="210" y="144"/>
                    <a:pt x="217" y="159"/>
                    <a:pt x="224" y="171"/>
                  </a:cubicBezTo>
                  <a:cubicBezTo>
                    <a:pt x="233" y="184"/>
                    <a:pt x="240" y="196"/>
                    <a:pt x="246" y="196"/>
                  </a:cubicBezTo>
                  <a:cubicBezTo>
                    <a:pt x="250" y="196"/>
                    <a:pt x="250" y="194"/>
                    <a:pt x="249" y="191"/>
                  </a:cubicBezTo>
                  <a:cubicBezTo>
                    <a:pt x="248" y="188"/>
                    <a:pt x="246" y="185"/>
                    <a:pt x="245" y="184"/>
                  </a:cubicBezTo>
                  <a:cubicBezTo>
                    <a:pt x="239" y="177"/>
                    <a:pt x="233" y="167"/>
                    <a:pt x="228" y="155"/>
                  </a:cubicBezTo>
                  <a:cubicBezTo>
                    <a:pt x="231" y="155"/>
                    <a:pt x="233" y="155"/>
                    <a:pt x="234" y="153"/>
                  </a:cubicBezTo>
                  <a:cubicBezTo>
                    <a:pt x="236" y="149"/>
                    <a:pt x="231" y="150"/>
                    <a:pt x="228" y="150"/>
                  </a:cubicBezTo>
                  <a:cubicBezTo>
                    <a:pt x="227" y="149"/>
                    <a:pt x="226" y="149"/>
                    <a:pt x="225" y="148"/>
                  </a:cubicBezTo>
                  <a:cubicBezTo>
                    <a:pt x="221" y="138"/>
                    <a:pt x="218" y="129"/>
                    <a:pt x="218" y="121"/>
                  </a:cubicBezTo>
                  <a:cubicBezTo>
                    <a:pt x="217" y="119"/>
                    <a:pt x="217" y="118"/>
                    <a:pt x="217" y="116"/>
                  </a:cubicBezTo>
                  <a:cubicBezTo>
                    <a:pt x="225" y="107"/>
                    <a:pt x="234" y="101"/>
                    <a:pt x="245" y="113"/>
                  </a:cubicBezTo>
                  <a:cubicBezTo>
                    <a:pt x="242" y="117"/>
                    <a:pt x="240" y="121"/>
                    <a:pt x="241" y="126"/>
                  </a:cubicBezTo>
                  <a:cubicBezTo>
                    <a:pt x="242" y="130"/>
                    <a:pt x="244" y="137"/>
                    <a:pt x="253" y="142"/>
                  </a:cubicBezTo>
                  <a:cubicBezTo>
                    <a:pt x="256" y="143"/>
                    <a:pt x="258" y="144"/>
                    <a:pt x="261" y="144"/>
                  </a:cubicBezTo>
                  <a:cubicBezTo>
                    <a:pt x="265" y="144"/>
                    <a:pt x="269" y="142"/>
                    <a:pt x="273" y="139"/>
                  </a:cubicBezTo>
                  <a:cubicBezTo>
                    <a:pt x="282" y="139"/>
                    <a:pt x="284" y="156"/>
                    <a:pt x="281" y="166"/>
                  </a:cubicBezTo>
                  <a:cubicBezTo>
                    <a:pt x="280" y="169"/>
                    <a:pt x="279" y="171"/>
                    <a:pt x="278" y="173"/>
                  </a:cubicBezTo>
                  <a:cubicBezTo>
                    <a:pt x="277" y="173"/>
                    <a:pt x="277" y="174"/>
                    <a:pt x="277" y="174"/>
                  </a:cubicBezTo>
                  <a:cubicBezTo>
                    <a:pt x="272" y="177"/>
                    <a:pt x="262" y="176"/>
                    <a:pt x="266" y="180"/>
                  </a:cubicBezTo>
                  <a:cubicBezTo>
                    <a:pt x="267" y="182"/>
                    <a:pt x="269" y="182"/>
                    <a:pt x="271" y="182"/>
                  </a:cubicBezTo>
                  <a:cubicBezTo>
                    <a:pt x="268" y="187"/>
                    <a:pt x="265" y="193"/>
                    <a:pt x="266" y="199"/>
                  </a:cubicBezTo>
                  <a:cubicBezTo>
                    <a:pt x="267" y="218"/>
                    <a:pt x="283" y="238"/>
                    <a:pt x="296" y="254"/>
                  </a:cubicBezTo>
                  <a:cubicBezTo>
                    <a:pt x="303" y="262"/>
                    <a:pt x="346" y="305"/>
                    <a:pt x="352" y="310"/>
                  </a:cubicBezTo>
                  <a:cubicBezTo>
                    <a:pt x="372" y="330"/>
                    <a:pt x="395" y="349"/>
                    <a:pt x="415" y="372"/>
                  </a:cubicBezTo>
                  <a:cubicBezTo>
                    <a:pt x="420" y="378"/>
                    <a:pt x="427" y="385"/>
                    <a:pt x="431" y="393"/>
                  </a:cubicBezTo>
                  <a:cubicBezTo>
                    <a:pt x="434" y="398"/>
                    <a:pt x="435" y="403"/>
                    <a:pt x="436" y="409"/>
                  </a:cubicBezTo>
                  <a:cubicBezTo>
                    <a:pt x="436" y="409"/>
                    <a:pt x="436" y="409"/>
                    <a:pt x="436" y="410"/>
                  </a:cubicBezTo>
                  <a:cubicBezTo>
                    <a:pt x="424" y="398"/>
                    <a:pt x="411" y="381"/>
                    <a:pt x="398" y="369"/>
                  </a:cubicBezTo>
                  <a:cubicBezTo>
                    <a:pt x="390" y="362"/>
                    <a:pt x="366" y="333"/>
                    <a:pt x="361" y="336"/>
                  </a:cubicBezTo>
                  <a:cubicBezTo>
                    <a:pt x="358" y="343"/>
                    <a:pt x="382" y="362"/>
                    <a:pt x="395" y="376"/>
                  </a:cubicBezTo>
                  <a:cubicBezTo>
                    <a:pt x="401" y="383"/>
                    <a:pt x="407" y="388"/>
                    <a:pt x="414" y="397"/>
                  </a:cubicBezTo>
                  <a:cubicBezTo>
                    <a:pt x="417" y="401"/>
                    <a:pt x="421" y="404"/>
                    <a:pt x="424" y="408"/>
                  </a:cubicBezTo>
                  <a:cubicBezTo>
                    <a:pt x="425" y="409"/>
                    <a:pt x="430" y="415"/>
                    <a:pt x="433" y="419"/>
                  </a:cubicBezTo>
                  <a:cubicBezTo>
                    <a:pt x="428" y="440"/>
                    <a:pt x="434" y="462"/>
                    <a:pt x="446" y="466"/>
                  </a:cubicBezTo>
                  <a:cubicBezTo>
                    <a:pt x="435" y="476"/>
                    <a:pt x="419" y="494"/>
                    <a:pt x="410" y="505"/>
                  </a:cubicBezTo>
                  <a:cubicBezTo>
                    <a:pt x="405" y="511"/>
                    <a:pt x="400" y="519"/>
                    <a:pt x="396" y="526"/>
                  </a:cubicBezTo>
                  <a:cubicBezTo>
                    <a:pt x="393" y="532"/>
                    <a:pt x="386" y="543"/>
                    <a:pt x="383" y="549"/>
                  </a:cubicBezTo>
                  <a:cubicBezTo>
                    <a:pt x="379" y="556"/>
                    <a:pt x="369" y="571"/>
                    <a:pt x="363" y="576"/>
                  </a:cubicBezTo>
                  <a:cubicBezTo>
                    <a:pt x="359" y="581"/>
                    <a:pt x="350" y="587"/>
                    <a:pt x="342" y="592"/>
                  </a:cubicBezTo>
                  <a:cubicBezTo>
                    <a:pt x="341" y="587"/>
                    <a:pt x="339" y="583"/>
                    <a:pt x="338" y="577"/>
                  </a:cubicBezTo>
                  <a:cubicBezTo>
                    <a:pt x="338" y="565"/>
                    <a:pt x="339" y="553"/>
                    <a:pt x="344" y="545"/>
                  </a:cubicBezTo>
                  <a:close/>
                  <a:moveTo>
                    <a:pt x="77" y="636"/>
                  </a:moveTo>
                  <a:cubicBezTo>
                    <a:pt x="87" y="636"/>
                    <a:pt x="103" y="637"/>
                    <a:pt x="110" y="644"/>
                  </a:cubicBezTo>
                  <a:cubicBezTo>
                    <a:pt x="114" y="649"/>
                    <a:pt x="115" y="655"/>
                    <a:pt x="113" y="663"/>
                  </a:cubicBezTo>
                  <a:cubicBezTo>
                    <a:pt x="112" y="667"/>
                    <a:pt x="110" y="669"/>
                    <a:pt x="107" y="669"/>
                  </a:cubicBezTo>
                  <a:cubicBezTo>
                    <a:pt x="102" y="670"/>
                    <a:pt x="95" y="668"/>
                    <a:pt x="92" y="663"/>
                  </a:cubicBezTo>
                  <a:cubicBezTo>
                    <a:pt x="89" y="659"/>
                    <a:pt x="87" y="656"/>
                    <a:pt x="85" y="651"/>
                  </a:cubicBezTo>
                  <a:cubicBezTo>
                    <a:pt x="84" y="649"/>
                    <a:pt x="83" y="646"/>
                    <a:pt x="82" y="644"/>
                  </a:cubicBezTo>
                  <a:cubicBezTo>
                    <a:pt x="80" y="640"/>
                    <a:pt x="78" y="638"/>
                    <a:pt x="77" y="636"/>
                  </a:cubicBezTo>
                  <a:close/>
                  <a:moveTo>
                    <a:pt x="11" y="768"/>
                  </a:moveTo>
                  <a:cubicBezTo>
                    <a:pt x="14" y="760"/>
                    <a:pt x="25" y="746"/>
                    <a:pt x="32" y="742"/>
                  </a:cubicBezTo>
                  <a:cubicBezTo>
                    <a:pt x="37" y="740"/>
                    <a:pt x="41" y="738"/>
                    <a:pt x="46" y="738"/>
                  </a:cubicBezTo>
                  <a:cubicBezTo>
                    <a:pt x="49" y="738"/>
                    <a:pt x="51" y="739"/>
                    <a:pt x="53" y="740"/>
                  </a:cubicBezTo>
                  <a:cubicBezTo>
                    <a:pt x="58" y="742"/>
                    <a:pt x="62" y="747"/>
                    <a:pt x="63" y="755"/>
                  </a:cubicBezTo>
                  <a:cubicBezTo>
                    <a:pt x="63" y="757"/>
                    <a:pt x="62" y="760"/>
                    <a:pt x="60" y="762"/>
                  </a:cubicBezTo>
                  <a:cubicBezTo>
                    <a:pt x="57" y="766"/>
                    <a:pt x="50" y="769"/>
                    <a:pt x="45" y="768"/>
                  </a:cubicBezTo>
                  <a:cubicBezTo>
                    <a:pt x="33" y="767"/>
                    <a:pt x="19" y="770"/>
                    <a:pt x="10" y="773"/>
                  </a:cubicBezTo>
                  <a:cubicBezTo>
                    <a:pt x="10" y="771"/>
                    <a:pt x="11" y="769"/>
                    <a:pt x="11" y="768"/>
                  </a:cubicBezTo>
                  <a:close/>
                  <a:moveTo>
                    <a:pt x="116" y="843"/>
                  </a:moveTo>
                  <a:cubicBezTo>
                    <a:pt x="114" y="846"/>
                    <a:pt x="112" y="848"/>
                    <a:pt x="110" y="851"/>
                  </a:cubicBezTo>
                  <a:cubicBezTo>
                    <a:pt x="107" y="855"/>
                    <a:pt x="105" y="857"/>
                    <a:pt x="104" y="860"/>
                  </a:cubicBezTo>
                  <a:cubicBezTo>
                    <a:pt x="100" y="852"/>
                    <a:pt x="95" y="839"/>
                    <a:pt x="98" y="828"/>
                  </a:cubicBezTo>
                  <a:cubicBezTo>
                    <a:pt x="99" y="822"/>
                    <a:pt x="104" y="818"/>
                    <a:pt x="113" y="815"/>
                  </a:cubicBezTo>
                  <a:cubicBezTo>
                    <a:pt x="113" y="815"/>
                    <a:pt x="114" y="815"/>
                    <a:pt x="115" y="815"/>
                  </a:cubicBezTo>
                  <a:cubicBezTo>
                    <a:pt x="118" y="815"/>
                    <a:pt x="120" y="816"/>
                    <a:pt x="122" y="818"/>
                  </a:cubicBezTo>
                  <a:cubicBezTo>
                    <a:pt x="125" y="822"/>
                    <a:pt x="126" y="829"/>
                    <a:pt x="124" y="834"/>
                  </a:cubicBezTo>
                  <a:cubicBezTo>
                    <a:pt x="123" y="838"/>
                    <a:pt x="120" y="840"/>
                    <a:pt x="116" y="843"/>
                  </a:cubicBezTo>
                  <a:close/>
                  <a:moveTo>
                    <a:pt x="276" y="817"/>
                  </a:moveTo>
                  <a:cubicBezTo>
                    <a:pt x="271" y="824"/>
                    <a:pt x="266" y="826"/>
                    <a:pt x="262" y="827"/>
                  </a:cubicBezTo>
                  <a:cubicBezTo>
                    <a:pt x="262" y="825"/>
                    <a:pt x="262" y="825"/>
                    <a:pt x="262" y="825"/>
                  </a:cubicBezTo>
                  <a:cubicBezTo>
                    <a:pt x="262" y="819"/>
                    <a:pt x="262" y="812"/>
                    <a:pt x="260" y="806"/>
                  </a:cubicBezTo>
                  <a:cubicBezTo>
                    <a:pt x="259" y="803"/>
                    <a:pt x="258" y="801"/>
                    <a:pt x="258" y="798"/>
                  </a:cubicBezTo>
                  <a:cubicBezTo>
                    <a:pt x="258" y="795"/>
                    <a:pt x="259" y="793"/>
                    <a:pt x="260" y="791"/>
                  </a:cubicBezTo>
                  <a:cubicBezTo>
                    <a:pt x="260" y="790"/>
                    <a:pt x="261" y="790"/>
                    <a:pt x="261" y="789"/>
                  </a:cubicBezTo>
                  <a:cubicBezTo>
                    <a:pt x="263" y="787"/>
                    <a:pt x="263" y="786"/>
                    <a:pt x="264" y="786"/>
                  </a:cubicBezTo>
                  <a:cubicBezTo>
                    <a:pt x="266" y="786"/>
                    <a:pt x="267" y="785"/>
                    <a:pt x="268" y="785"/>
                  </a:cubicBezTo>
                  <a:cubicBezTo>
                    <a:pt x="269" y="785"/>
                    <a:pt x="271" y="786"/>
                    <a:pt x="272" y="786"/>
                  </a:cubicBezTo>
                  <a:cubicBezTo>
                    <a:pt x="277" y="789"/>
                    <a:pt x="279" y="791"/>
                    <a:pt x="281" y="795"/>
                  </a:cubicBezTo>
                  <a:cubicBezTo>
                    <a:pt x="282" y="801"/>
                    <a:pt x="281" y="809"/>
                    <a:pt x="276" y="817"/>
                  </a:cubicBezTo>
                  <a:close/>
                  <a:moveTo>
                    <a:pt x="223" y="1059"/>
                  </a:moveTo>
                  <a:cubicBezTo>
                    <a:pt x="226" y="1066"/>
                    <a:pt x="223" y="1072"/>
                    <a:pt x="217" y="1078"/>
                  </a:cubicBezTo>
                  <a:cubicBezTo>
                    <a:pt x="213" y="1083"/>
                    <a:pt x="208" y="1082"/>
                    <a:pt x="204" y="1080"/>
                  </a:cubicBezTo>
                  <a:cubicBezTo>
                    <a:pt x="198" y="1077"/>
                    <a:pt x="194" y="1071"/>
                    <a:pt x="194" y="1066"/>
                  </a:cubicBezTo>
                  <a:cubicBezTo>
                    <a:pt x="195" y="1053"/>
                    <a:pt x="195" y="1050"/>
                    <a:pt x="195" y="1044"/>
                  </a:cubicBezTo>
                  <a:cubicBezTo>
                    <a:pt x="195" y="1043"/>
                    <a:pt x="195" y="1043"/>
                    <a:pt x="195" y="1043"/>
                  </a:cubicBezTo>
                  <a:cubicBezTo>
                    <a:pt x="195" y="1041"/>
                    <a:pt x="195" y="1040"/>
                    <a:pt x="195" y="1039"/>
                  </a:cubicBezTo>
                  <a:cubicBezTo>
                    <a:pt x="195" y="1037"/>
                    <a:pt x="195" y="1036"/>
                    <a:pt x="194" y="1033"/>
                  </a:cubicBezTo>
                  <a:cubicBezTo>
                    <a:pt x="204" y="1038"/>
                    <a:pt x="220" y="1047"/>
                    <a:pt x="223" y="1059"/>
                  </a:cubicBezTo>
                  <a:close/>
                  <a:moveTo>
                    <a:pt x="97" y="1116"/>
                  </a:moveTo>
                  <a:cubicBezTo>
                    <a:pt x="102" y="1112"/>
                    <a:pt x="118" y="1106"/>
                    <a:pt x="126" y="1106"/>
                  </a:cubicBezTo>
                  <a:cubicBezTo>
                    <a:pt x="134" y="1107"/>
                    <a:pt x="140" y="1109"/>
                    <a:pt x="143" y="1114"/>
                  </a:cubicBezTo>
                  <a:cubicBezTo>
                    <a:pt x="147" y="1119"/>
                    <a:pt x="145" y="1125"/>
                    <a:pt x="143" y="1129"/>
                  </a:cubicBezTo>
                  <a:cubicBezTo>
                    <a:pt x="143" y="1131"/>
                    <a:pt x="141" y="1132"/>
                    <a:pt x="139" y="1133"/>
                  </a:cubicBezTo>
                  <a:cubicBezTo>
                    <a:pt x="134" y="1134"/>
                    <a:pt x="128" y="1133"/>
                    <a:pt x="124" y="1130"/>
                  </a:cubicBezTo>
                  <a:cubicBezTo>
                    <a:pt x="113" y="1122"/>
                    <a:pt x="105" y="1118"/>
                    <a:pt x="96" y="1117"/>
                  </a:cubicBezTo>
                  <a:cubicBezTo>
                    <a:pt x="96" y="1117"/>
                    <a:pt x="96" y="1116"/>
                    <a:pt x="97" y="1116"/>
                  </a:cubicBezTo>
                  <a:close/>
                  <a:moveTo>
                    <a:pt x="165" y="1239"/>
                  </a:moveTo>
                  <a:cubicBezTo>
                    <a:pt x="161" y="1241"/>
                    <a:pt x="157" y="1243"/>
                    <a:pt x="155" y="1244"/>
                  </a:cubicBezTo>
                  <a:cubicBezTo>
                    <a:pt x="155" y="1235"/>
                    <a:pt x="155" y="1220"/>
                    <a:pt x="163" y="1213"/>
                  </a:cubicBezTo>
                  <a:cubicBezTo>
                    <a:pt x="166" y="1209"/>
                    <a:pt x="171" y="1207"/>
                    <a:pt x="177" y="1207"/>
                  </a:cubicBezTo>
                  <a:cubicBezTo>
                    <a:pt x="178" y="1207"/>
                    <a:pt x="179" y="1208"/>
                    <a:pt x="181" y="1208"/>
                  </a:cubicBezTo>
                  <a:cubicBezTo>
                    <a:pt x="185" y="1208"/>
                    <a:pt x="187" y="1210"/>
                    <a:pt x="189" y="1214"/>
                  </a:cubicBezTo>
                  <a:cubicBezTo>
                    <a:pt x="190" y="1219"/>
                    <a:pt x="189" y="1226"/>
                    <a:pt x="186" y="1229"/>
                  </a:cubicBezTo>
                  <a:cubicBezTo>
                    <a:pt x="182" y="1233"/>
                    <a:pt x="178" y="1234"/>
                    <a:pt x="173" y="1236"/>
                  </a:cubicBezTo>
                  <a:cubicBezTo>
                    <a:pt x="170" y="1237"/>
                    <a:pt x="168" y="1238"/>
                    <a:pt x="165" y="1239"/>
                  </a:cubicBezTo>
                  <a:close/>
                  <a:moveTo>
                    <a:pt x="304" y="1271"/>
                  </a:moveTo>
                  <a:cubicBezTo>
                    <a:pt x="298" y="1278"/>
                    <a:pt x="293" y="1281"/>
                    <a:pt x="288" y="1282"/>
                  </a:cubicBezTo>
                  <a:cubicBezTo>
                    <a:pt x="288" y="1282"/>
                    <a:pt x="288" y="1281"/>
                    <a:pt x="288" y="1281"/>
                  </a:cubicBezTo>
                  <a:cubicBezTo>
                    <a:pt x="288" y="1280"/>
                    <a:pt x="288" y="1280"/>
                    <a:pt x="288" y="1280"/>
                  </a:cubicBezTo>
                  <a:cubicBezTo>
                    <a:pt x="289" y="1274"/>
                    <a:pt x="290" y="1267"/>
                    <a:pt x="289" y="1260"/>
                  </a:cubicBezTo>
                  <a:cubicBezTo>
                    <a:pt x="289" y="1257"/>
                    <a:pt x="289" y="1255"/>
                    <a:pt x="289" y="1252"/>
                  </a:cubicBezTo>
                  <a:cubicBezTo>
                    <a:pt x="290" y="1249"/>
                    <a:pt x="291" y="1247"/>
                    <a:pt x="292" y="1246"/>
                  </a:cubicBezTo>
                  <a:cubicBezTo>
                    <a:pt x="293" y="1245"/>
                    <a:pt x="293" y="1245"/>
                    <a:pt x="293" y="1245"/>
                  </a:cubicBezTo>
                  <a:cubicBezTo>
                    <a:pt x="295" y="1243"/>
                    <a:pt x="296" y="1242"/>
                    <a:pt x="297" y="1241"/>
                  </a:cubicBezTo>
                  <a:cubicBezTo>
                    <a:pt x="299" y="1241"/>
                    <a:pt x="301" y="1241"/>
                    <a:pt x="302" y="1241"/>
                  </a:cubicBezTo>
                  <a:cubicBezTo>
                    <a:pt x="304" y="1241"/>
                    <a:pt x="306" y="1241"/>
                    <a:pt x="307" y="1242"/>
                  </a:cubicBezTo>
                  <a:cubicBezTo>
                    <a:pt x="311" y="1244"/>
                    <a:pt x="313" y="1247"/>
                    <a:pt x="313" y="1251"/>
                  </a:cubicBezTo>
                  <a:cubicBezTo>
                    <a:pt x="314" y="1256"/>
                    <a:pt x="310" y="1264"/>
                    <a:pt x="304" y="1271"/>
                  </a:cubicBezTo>
                  <a:close/>
                  <a:moveTo>
                    <a:pt x="549" y="1062"/>
                  </a:moveTo>
                  <a:cubicBezTo>
                    <a:pt x="532" y="1064"/>
                    <a:pt x="521" y="1063"/>
                    <a:pt x="507" y="1062"/>
                  </a:cubicBezTo>
                  <a:cubicBezTo>
                    <a:pt x="504" y="1076"/>
                    <a:pt x="507" y="1083"/>
                    <a:pt x="505" y="1094"/>
                  </a:cubicBezTo>
                  <a:cubicBezTo>
                    <a:pt x="502" y="1106"/>
                    <a:pt x="497" y="1131"/>
                    <a:pt x="494" y="1146"/>
                  </a:cubicBezTo>
                  <a:cubicBezTo>
                    <a:pt x="491" y="1157"/>
                    <a:pt x="493" y="1179"/>
                    <a:pt x="506" y="1192"/>
                  </a:cubicBezTo>
                  <a:cubicBezTo>
                    <a:pt x="512" y="1197"/>
                    <a:pt x="525" y="1199"/>
                    <a:pt x="506" y="1202"/>
                  </a:cubicBezTo>
                  <a:cubicBezTo>
                    <a:pt x="501" y="1203"/>
                    <a:pt x="497" y="1203"/>
                    <a:pt x="494" y="1204"/>
                  </a:cubicBezTo>
                  <a:cubicBezTo>
                    <a:pt x="487" y="1202"/>
                    <a:pt x="471" y="1185"/>
                    <a:pt x="466" y="1180"/>
                  </a:cubicBezTo>
                  <a:cubicBezTo>
                    <a:pt x="465" y="1179"/>
                    <a:pt x="460" y="1174"/>
                    <a:pt x="460" y="1179"/>
                  </a:cubicBezTo>
                  <a:cubicBezTo>
                    <a:pt x="460" y="1181"/>
                    <a:pt x="463" y="1184"/>
                    <a:pt x="464" y="1185"/>
                  </a:cubicBezTo>
                  <a:cubicBezTo>
                    <a:pt x="468" y="1190"/>
                    <a:pt x="471" y="1197"/>
                    <a:pt x="475" y="1201"/>
                  </a:cubicBezTo>
                  <a:cubicBezTo>
                    <a:pt x="478" y="1204"/>
                    <a:pt x="479" y="1205"/>
                    <a:pt x="481" y="1208"/>
                  </a:cubicBezTo>
                  <a:cubicBezTo>
                    <a:pt x="481" y="1208"/>
                    <a:pt x="481" y="1208"/>
                    <a:pt x="480" y="1208"/>
                  </a:cubicBezTo>
                  <a:cubicBezTo>
                    <a:pt x="477" y="1209"/>
                    <a:pt x="474" y="1209"/>
                    <a:pt x="469" y="1209"/>
                  </a:cubicBezTo>
                  <a:cubicBezTo>
                    <a:pt x="465" y="1209"/>
                    <a:pt x="461" y="1209"/>
                    <a:pt x="457" y="1209"/>
                  </a:cubicBezTo>
                  <a:cubicBezTo>
                    <a:pt x="449" y="1204"/>
                    <a:pt x="431" y="1185"/>
                    <a:pt x="428" y="1186"/>
                  </a:cubicBezTo>
                  <a:cubicBezTo>
                    <a:pt x="423" y="1189"/>
                    <a:pt x="439" y="1203"/>
                    <a:pt x="442" y="1210"/>
                  </a:cubicBezTo>
                  <a:cubicBezTo>
                    <a:pt x="438" y="1210"/>
                    <a:pt x="433" y="1210"/>
                    <a:pt x="425" y="1208"/>
                  </a:cubicBezTo>
                  <a:cubicBezTo>
                    <a:pt x="418" y="1207"/>
                    <a:pt x="412" y="1178"/>
                    <a:pt x="403" y="1183"/>
                  </a:cubicBezTo>
                  <a:cubicBezTo>
                    <a:pt x="402" y="1184"/>
                    <a:pt x="412" y="1208"/>
                    <a:pt x="414" y="1213"/>
                  </a:cubicBezTo>
                  <a:cubicBezTo>
                    <a:pt x="418" y="1220"/>
                    <a:pt x="422" y="1230"/>
                    <a:pt x="427" y="1235"/>
                  </a:cubicBezTo>
                  <a:cubicBezTo>
                    <a:pt x="431" y="1240"/>
                    <a:pt x="433" y="1243"/>
                    <a:pt x="423" y="1239"/>
                  </a:cubicBezTo>
                  <a:cubicBezTo>
                    <a:pt x="405" y="1231"/>
                    <a:pt x="394" y="1214"/>
                    <a:pt x="384" y="1197"/>
                  </a:cubicBezTo>
                  <a:cubicBezTo>
                    <a:pt x="381" y="1197"/>
                    <a:pt x="379" y="1198"/>
                    <a:pt x="379" y="1200"/>
                  </a:cubicBezTo>
                  <a:cubicBezTo>
                    <a:pt x="380" y="1208"/>
                    <a:pt x="385" y="1221"/>
                    <a:pt x="388" y="1228"/>
                  </a:cubicBezTo>
                  <a:cubicBezTo>
                    <a:pt x="390" y="1232"/>
                    <a:pt x="392" y="1237"/>
                    <a:pt x="394" y="1242"/>
                  </a:cubicBezTo>
                  <a:cubicBezTo>
                    <a:pt x="394" y="1243"/>
                    <a:pt x="408" y="1265"/>
                    <a:pt x="398" y="1257"/>
                  </a:cubicBezTo>
                  <a:cubicBezTo>
                    <a:pt x="390" y="1250"/>
                    <a:pt x="381" y="1245"/>
                    <a:pt x="372" y="1231"/>
                  </a:cubicBezTo>
                  <a:cubicBezTo>
                    <a:pt x="369" y="1226"/>
                    <a:pt x="365" y="1223"/>
                    <a:pt x="363" y="1218"/>
                  </a:cubicBezTo>
                  <a:cubicBezTo>
                    <a:pt x="362" y="1216"/>
                    <a:pt x="359" y="1206"/>
                    <a:pt x="353" y="1214"/>
                  </a:cubicBezTo>
                  <a:cubicBezTo>
                    <a:pt x="353" y="1216"/>
                    <a:pt x="354" y="1218"/>
                    <a:pt x="355" y="1221"/>
                  </a:cubicBezTo>
                  <a:cubicBezTo>
                    <a:pt x="352" y="1223"/>
                    <a:pt x="349" y="1224"/>
                    <a:pt x="345" y="1224"/>
                  </a:cubicBezTo>
                  <a:cubicBezTo>
                    <a:pt x="344" y="1220"/>
                    <a:pt x="342" y="1216"/>
                    <a:pt x="339" y="1214"/>
                  </a:cubicBezTo>
                  <a:cubicBezTo>
                    <a:pt x="333" y="1214"/>
                    <a:pt x="336" y="1220"/>
                    <a:pt x="337" y="1224"/>
                  </a:cubicBezTo>
                  <a:cubicBezTo>
                    <a:pt x="339" y="1230"/>
                    <a:pt x="337" y="1239"/>
                    <a:pt x="335" y="1245"/>
                  </a:cubicBezTo>
                  <a:cubicBezTo>
                    <a:pt x="332" y="1250"/>
                    <a:pt x="327" y="1256"/>
                    <a:pt x="321" y="1258"/>
                  </a:cubicBezTo>
                  <a:cubicBezTo>
                    <a:pt x="322" y="1255"/>
                    <a:pt x="322" y="1253"/>
                    <a:pt x="322" y="1250"/>
                  </a:cubicBezTo>
                  <a:cubicBezTo>
                    <a:pt x="321" y="1244"/>
                    <a:pt x="318" y="1239"/>
                    <a:pt x="312" y="1234"/>
                  </a:cubicBezTo>
                  <a:cubicBezTo>
                    <a:pt x="306" y="1231"/>
                    <a:pt x="298" y="1232"/>
                    <a:pt x="295" y="1233"/>
                  </a:cubicBezTo>
                  <a:cubicBezTo>
                    <a:pt x="291" y="1234"/>
                    <a:pt x="289" y="1236"/>
                    <a:pt x="287" y="1238"/>
                  </a:cubicBezTo>
                  <a:cubicBezTo>
                    <a:pt x="286" y="1239"/>
                    <a:pt x="286" y="1239"/>
                    <a:pt x="286" y="1239"/>
                  </a:cubicBezTo>
                  <a:cubicBezTo>
                    <a:pt x="284" y="1242"/>
                    <a:pt x="283" y="1244"/>
                    <a:pt x="282" y="1247"/>
                  </a:cubicBezTo>
                  <a:cubicBezTo>
                    <a:pt x="278" y="1244"/>
                    <a:pt x="278" y="1244"/>
                    <a:pt x="278" y="1244"/>
                  </a:cubicBezTo>
                  <a:cubicBezTo>
                    <a:pt x="275" y="1242"/>
                    <a:pt x="272" y="1238"/>
                    <a:pt x="271" y="1236"/>
                  </a:cubicBezTo>
                  <a:cubicBezTo>
                    <a:pt x="269" y="1233"/>
                    <a:pt x="269" y="1228"/>
                    <a:pt x="270" y="1224"/>
                  </a:cubicBezTo>
                  <a:cubicBezTo>
                    <a:pt x="270" y="1218"/>
                    <a:pt x="280" y="1207"/>
                    <a:pt x="270" y="1208"/>
                  </a:cubicBezTo>
                  <a:cubicBezTo>
                    <a:pt x="268" y="1210"/>
                    <a:pt x="266" y="1213"/>
                    <a:pt x="264" y="1218"/>
                  </a:cubicBezTo>
                  <a:cubicBezTo>
                    <a:pt x="256" y="1217"/>
                    <a:pt x="248" y="1218"/>
                    <a:pt x="241" y="1220"/>
                  </a:cubicBezTo>
                  <a:cubicBezTo>
                    <a:pt x="239" y="1221"/>
                    <a:pt x="237" y="1223"/>
                    <a:pt x="234" y="1224"/>
                  </a:cubicBezTo>
                  <a:cubicBezTo>
                    <a:pt x="234" y="1223"/>
                    <a:pt x="234" y="1222"/>
                    <a:pt x="234" y="1222"/>
                  </a:cubicBezTo>
                  <a:cubicBezTo>
                    <a:pt x="233" y="1219"/>
                    <a:pt x="235" y="1212"/>
                    <a:pt x="231" y="1212"/>
                  </a:cubicBezTo>
                  <a:cubicBezTo>
                    <a:pt x="229" y="1212"/>
                    <a:pt x="228" y="1214"/>
                    <a:pt x="228" y="1216"/>
                  </a:cubicBezTo>
                  <a:cubicBezTo>
                    <a:pt x="227" y="1217"/>
                    <a:pt x="228" y="1220"/>
                    <a:pt x="228" y="1222"/>
                  </a:cubicBezTo>
                  <a:cubicBezTo>
                    <a:pt x="229" y="1224"/>
                    <a:pt x="229" y="1227"/>
                    <a:pt x="228" y="1229"/>
                  </a:cubicBezTo>
                  <a:cubicBezTo>
                    <a:pt x="226" y="1231"/>
                    <a:pt x="224" y="1234"/>
                    <a:pt x="222" y="1237"/>
                  </a:cubicBezTo>
                  <a:cubicBezTo>
                    <a:pt x="215" y="1248"/>
                    <a:pt x="207" y="1250"/>
                    <a:pt x="199" y="1249"/>
                  </a:cubicBezTo>
                  <a:cubicBezTo>
                    <a:pt x="187" y="1248"/>
                    <a:pt x="184" y="1247"/>
                    <a:pt x="180" y="1242"/>
                  </a:cubicBezTo>
                  <a:cubicBezTo>
                    <a:pt x="184" y="1241"/>
                    <a:pt x="188" y="1239"/>
                    <a:pt x="192" y="1236"/>
                  </a:cubicBezTo>
                  <a:cubicBezTo>
                    <a:pt x="198" y="1229"/>
                    <a:pt x="200" y="1219"/>
                    <a:pt x="197" y="1211"/>
                  </a:cubicBezTo>
                  <a:cubicBezTo>
                    <a:pt x="194" y="1204"/>
                    <a:pt x="189" y="1200"/>
                    <a:pt x="182" y="1199"/>
                  </a:cubicBezTo>
                  <a:cubicBezTo>
                    <a:pt x="172" y="1198"/>
                    <a:pt x="163" y="1200"/>
                    <a:pt x="157" y="1206"/>
                  </a:cubicBezTo>
                  <a:cubicBezTo>
                    <a:pt x="156" y="1207"/>
                    <a:pt x="156" y="1208"/>
                    <a:pt x="155" y="1209"/>
                  </a:cubicBezTo>
                  <a:cubicBezTo>
                    <a:pt x="154" y="1205"/>
                    <a:pt x="154" y="1205"/>
                    <a:pt x="154" y="1205"/>
                  </a:cubicBezTo>
                  <a:cubicBezTo>
                    <a:pt x="152" y="1197"/>
                    <a:pt x="159" y="1189"/>
                    <a:pt x="164" y="1183"/>
                  </a:cubicBezTo>
                  <a:cubicBezTo>
                    <a:pt x="165" y="1183"/>
                    <a:pt x="165" y="1182"/>
                    <a:pt x="165" y="1182"/>
                  </a:cubicBezTo>
                  <a:cubicBezTo>
                    <a:pt x="168" y="1180"/>
                    <a:pt x="170" y="1178"/>
                    <a:pt x="178" y="1177"/>
                  </a:cubicBezTo>
                  <a:cubicBezTo>
                    <a:pt x="179" y="1177"/>
                    <a:pt x="182" y="1176"/>
                    <a:pt x="184" y="1176"/>
                  </a:cubicBezTo>
                  <a:cubicBezTo>
                    <a:pt x="188" y="1177"/>
                    <a:pt x="191" y="1180"/>
                    <a:pt x="195" y="1181"/>
                  </a:cubicBezTo>
                  <a:cubicBezTo>
                    <a:pt x="196" y="1182"/>
                    <a:pt x="199" y="1182"/>
                    <a:pt x="199" y="1180"/>
                  </a:cubicBezTo>
                  <a:cubicBezTo>
                    <a:pt x="199" y="1179"/>
                    <a:pt x="196" y="1177"/>
                    <a:pt x="195" y="1176"/>
                  </a:cubicBezTo>
                  <a:cubicBezTo>
                    <a:pt x="193" y="1175"/>
                    <a:pt x="193" y="1175"/>
                    <a:pt x="193" y="1175"/>
                  </a:cubicBezTo>
                  <a:cubicBezTo>
                    <a:pt x="197" y="1174"/>
                    <a:pt x="200" y="1174"/>
                    <a:pt x="204" y="1173"/>
                  </a:cubicBezTo>
                  <a:cubicBezTo>
                    <a:pt x="214" y="1170"/>
                    <a:pt x="223" y="1165"/>
                    <a:pt x="229" y="1163"/>
                  </a:cubicBezTo>
                  <a:cubicBezTo>
                    <a:pt x="237" y="1161"/>
                    <a:pt x="251" y="1158"/>
                    <a:pt x="253" y="1154"/>
                  </a:cubicBezTo>
                  <a:cubicBezTo>
                    <a:pt x="255" y="1150"/>
                    <a:pt x="244" y="1151"/>
                    <a:pt x="241" y="1152"/>
                  </a:cubicBezTo>
                  <a:cubicBezTo>
                    <a:pt x="228" y="1153"/>
                    <a:pt x="211" y="1163"/>
                    <a:pt x="201" y="1163"/>
                  </a:cubicBezTo>
                  <a:cubicBezTo>
                    <a:pt x="198" y="1164"/>
                    <a:pt x="192" y="1164"/>
                    <a:pt x="186" y="1164"/>
                  </a:cubicBezTo>
                  <a:cubicBezTo>
                    <a:pt x="183" y="1165"/>
                    <a:pt x="180" y="1165"/>
                    <a:pt x="178" y="1165"/>
                  </a:cubicBezTo>
                  <a:cubicBezTo>
                    <a:pt x="178" y="1165"/>
                    <a:pt x="178" y="1164"/>
                    <a:pt x="178" y="1164"/>
                  </a:cubicBezTo>
                  <a:cubicBezTo>
                    <a:pt x="178" y="1163"/>
                    <a:pt x="178" y="1162"/>
                    <a:pt x="178" y="1161"/>
                  </a:cubicBezTo>
                  <a:cubicBezTo>
                    <a:pt x="178" y="1159"/>
                    <a:pt x="178" y="1155"/>
                    <a:pt x="176" y="1155"/>
                  </a:cubicBezTo>
                  <a:cubicBezTo>
                    <a:pt x="176" y="1155"/>
                    <a:pt x="175" y="1155"/>
                    <a:pt x="174" y="1156"/>
                  </a:cubicBezTo>
                  <a:cubicBezTo>
                    <a:pt x="173" y="1158"/>
                    <a:pt x="173" y="1160"/>
                    <a:pt x="172" y="1162"/>
                  </a:cubicBezTo>
                  <a:cubicBezTo>
                    <a:pt x="172" y="1163"/>
                    <a:pt x="171" y="1165"/>
                    <a:pt x="170" y="1166"/>
                  </a:cubicBezTo>
                  <a:cubicBezTo>
                    <a:pt x="165" y="1169"/>
                    <a:pt x="164" y="1174"/>
                    <a:pt x="158" y="1174"/>
                  </a:cubicBezTo>
                  <a:cubicBezTo>
                    <a:pt x="151" y="1175"/>
                    <a:pt x="140" y="1176"/>
                    <a:pt x="130" y="1166"/>
                  </a:cubicBezTo>
                  <a:cubicBezTo>
                    <a:pt x="125" y="1160"/>
                    <a:pt x="118" y="1148"/>
                    <a:pt x="120" y="1138"/>
                  </a:cubicBezTo>
                  <a:cubicBezTo>
                    <a:pt x="124" y="1140"/>
                    <a:pt x="130" y="1142"/>
                    <a:pt x="135" y="1142"/>
                  </a:cubicBezTo>
                  <a:cubicBezTo>
                    <a:pt x="137" y="1142"/>
                    <a:pt x="139" y="1142"/>
                    <a:pt x="141" y="1141"/>
                  </a:cubicBezTo>
                  <a:cubicBezTo>
                    <a:pt x="146" y="1140"/>
                    <a:pt x="150" y="1137"/>
                    <a:pt x="151" y="1132"/>
                  </a:cubicBezTo>
                  <a:cubicBezTo>
                    <a:pt x="156" y="1121"/>
                    <a:pt x="154" y="1114"/>
                    <a:pt x="151" y="1109"/>
                  </a:cubicBezTo>
                  <a:cubicBezTo>
                    <a:pt x="147" y="1104"/>
                    <a:pt x="140" y="1100"/>
                    <a:pt x="132" y="1099"/>
                  </a:cubicBezTo>
                  <a:cubicBezTo>
                    <a:pt x="144" y="1087"/>
                    <a:pt x="159" y="1092"/>
                    <a:pt x="171" y="1100"/>
                  </a:cubicBezTo>
                  <a:cubicBezTo>
                    <a:pt x="173" y="1102"/>
                    <a:pt x="175" y="1104"/>
                    <a:pt x="176" y="1107"/>
                  </a:cubicBezTo>
                  <a:cubicBezTo>
                    <a:pt x="176" y="1110"/>
                    <a:pt x="177" y="1118"/>
                    <a:pt x="182" y="1117"/>
                  </a:cubicBezTo>
                  <a:cubicBezTo>
                    <a:pt x="184" y="1116"/>
                    <a:pt x="184" y="1113"/>
                    <a:pt x="184" y="1111"/>
                  </a:cubicBezTo>
                  <a:cubicBezTo>
                    <a:pt x="184" y="1111"/>
                    <a:pt x="184" y="1109"/>
                    <a:pt x="184" y="1108"/>
                  </a:cubicBezTo>
                  <a:cubicBezTo>
                    <a:pt x="194" y="1115"/>
                    <a:pt x="233" y="1121"/>
                    <a:pt x="238" y="1120"/>
                  </a:cubicBezTo>
                  <a:cubicBezTo>
                    <a:pt x="247" y="1117"/>
                    <a:pt x="227" y="1110"/>
                    <a:pt x="223" y="1109"/>
                  </a:cubicBezTo>
                  <a:cubicBezTo>
                    <a:pt x="220" y="1108"/>
                    <a:pt x="218" y="1108"/>
                    <a:pt x="216" y="1107"/>
                  </a:cubicBezTo>
                  <a:cubicBezTo>
                    <a:pt x="218" y="1106"/>
                    <a:pt x="219" y="1104"/>
                    <a:pt x="220" y="1102"/>
                  </a:cubicBezTo>
                  <a:cubicBezTo>
                    <a:pt x="220" y="1102"/>
                    <a:pt x="220" y="1100"/>
                    <a:pt x="219" y="1100"/>
                  </a:cubicBezTo>
                  <a:cubicBezTo>
                    <a:pt x="219" y="1099"/>
                    <a:pt x="218" y="1099"/>
                    <a:pt x="217" y="1099"/>
                  </a:cubicBezTo>
                  <a:cubicBezTo>
                    <a:pt x="216" y="1099"/>
                    <a:pt x="214" y="1102"/>
                    <a:pt x="213" y="1103"/>
                  </a:cubicBezTo>
                  <a:cubicBezTo>
                    <a:pt x="212" y="1105"/>
                    <a:pt x="210" y="1105"/>
                    <a:pt x="208" y="1105"/>
                  </a:cubicBezTo>
                  <a:cubicBezTo>
                    <a:pt x="195" y="1102"/>
                    <a:pt x="187" y="1100"/>
                    <a:pt x="176" y="1090"/>
                  </a:cubicBezTo>
                  <a:cubicBezTo>
                    <a:pt x="176" y="1085"/>
                    <a:pt x="181" y="1076"/>
                    <a:pt x="187" y="1073"/>
                  </a:cubicBezTo>
                  <a:cubicBezTo>
                    <a:pt x="189" y="1079"/>
                    <a:pt x="194" y="1085"/>
                    <a:pt x="201" y="1088"/>
                  </a:cubicBezTo>
                  <a:cubicBezTo>
                    <a:pt x="204" y="1090"/>
                    <a:pt x="207" y="1090"/>
                    <a:pt x="210" y="1090"/>
                  </a:cubicBezTo>
                  <a:cubicBezTo>
                    <a:pt x="215" y="1090"/>
                    <a:pt x="219" y="1088"/>
                    <a:pt x="223" y="1085"/>
                  </a:cubicBezTo>
                  <a:cubicBezTo>
                    <a:pt x="230" y="1078"/>
                    <a:pt x="232" y="1071"/>
                    <a:pt x="233" y="1066"/>
                  </a:cubicBezTo>
                  <a:cubicBezTo>
                    <a:pt x="245" y="1068"/>
                    <a:pt x="249" y="1076"/>
                    <a:pt x="251" y="1086"/>
                  </a:cubicBezTo>
                  <a:cubicBezTo>
                    <a:pt x="251" y="1087"/>
                    <a:pt x="251" y="1088"/>
                    <a:pt x="251" y="1089"/>
                  </a:cubicBezTo>
                  <a:cubicBezTo>
                    <a:pt x="251" y="1090"/>
                    <a:pt x="250" y="1091"/>
                    <a:pt x="250" y="1091"/>
                  </a:cubicBezTo>
                  <a:cubicBezTo>
                    <a:pt x="249" y="1092"/>
                    <a:pt x="247" y="1093"/>
                    <a:pt x="246" y="1094"/>
                  </a:cubicBezTo>
                  <a:cubicBezTo>
                    <a:pt x="245" y="1094"/>
                    <a:pt x="243" y="1095"/>
                    <a:pt x="243" y="1096"/>
                  </a:cubicBezTo>
                  <a:cubicBezTo>
                    <a:pt x="243" y="1097"/>
                    <a:pt x="243" y="1098"/>
                    <a:pt x="244" y="1098"/>
                  </a:cubicBezTo>
                  <a:cubicBezTo>
                    <a:pt x="247" y="1098"/>
                    <a:pt x="250" y="1097"/>
                    <a:pt x="253" y="1097"/>
                  </a:cubicBezTo>
                  <a:cubicBezTo>
                    <a:pt x="254" y="1105"/>
                    <a:pt x="255" y="1112"/>
                    <a:pt x="257" y="1115"/>
                  </a:cubicBezTo>
                  <a:cubicBezTo>
                    <a:pt x="260" y="1119"/>
                    <a:pt x="265" y="1122"/>
                    <a:pt x="265" y="1122"/>
                  </a:cubicBezTo>
                  <a:cubicBezTo>
                    <a:pt x="280" y="1125"/>
                    <a:pt x="282" y="1124"/>
                    <a:pt x="288" y="1124"/>
                  </a:cubicBezTo>
                  <a:cubicBezTo>
                    <a:pt x="295" y="1125"/>
                    <a:pt x="320" y="1123"/>
                    <a:pt x="326" y="1122"/>
                  </a:cubicBezTo>
                  <a:cubicBezTo>
                    <a:pt x="336" y="1119"/>
                    <a:pt x="356" y="1114"/>
                    <a:pt x="359" y="1110"/>
                  </a:cubicBezTo>
                  <a:cubicBezTo>
                    <a:pt x="365" y="1104"/>
                    <a:pt x="371" y="1099"/>
                    <a:pt x="374" y="1086"/>
                  </a:cubicBezTo>
                  <a:cubicBezTo>
                    <a:pt x="376" y="1077"/>
                    <a:pt x="378" y="1066"/>
                    <a:pt x="380" y="1058"/>
                  </a:cubicBezTo>
                  <a:cubicBezTo>
                    <a:pt x="382" y="1047"/>
                    <a:pt x="394" y="1011"/>
                    <a:pt x="400" y="1002"/>
                  </a:cubicBezTo>
                  <a:cubicBezTo>
                    <a:pt x="411" y="986"/>
                    <a:pt x="427" y="986"/>
                    <a:pt x="441" y="982"/>
                  </a:cubicBezTo>
                  <a:cubicBezTo>
                    <a:pt x="455" y="979"/>
                    <a:pt x="460" y="978"/>
                    <a:pt x="463" y="976"/>
                  </a:cubicBezTo>
                  <a:cubicBezTo>
                    <a:pt x="473" y="965"/>
                    <a:pt x="416" y="980"/>
                    <a:pt x="400" y="979"/>
                  </a:cubicBezTo>
                  <a:cubicBezTo>
                    <a:pt x="378" y="978"/>
                    <a:pt x="357" y="973"/>
                    <a:pt x="336" y="970"/>
                  </a:cubicBezTo>
                  <a:cubicBezTo>
                    <a:pt x="312" y="967"/>
                    <a:pt x="289" y="968"/>
                    <a:pt x="266" y="972"/>
                  </a:cubicBezTo>
                  <a:cubicBezTo>
                    <a:pt x="269" y="969"/>
                    <a:pt x="274" y="963"/>
                    <a:pt x="275" y="962"/>
                  </a:cubicBezTo>
                  <a:cubicBezTo>
                    <a:pt x="278" y="959"/>
                    <a:pt x="282" y="955"/>
                    <a:pt x="285" y="953"/>
                  </a:cubicBezTo>
                  <a:cubicBezTo>
                    <a:pt x="287" y="951"/>
                    <a:pt x="290" y="949"/>
                    <a:pt x="293" y="947"/>
                  </a:cubicBezTo>
                  <a:cubicBezTo>
                    <a:pt x="305" y="947"/>
                    <a:pt x="327" y="946"/>
                    <a:pt x="337" y="947"/>
                  </a:cubicBezTo>
                  <a:cubicBezTo>
                    <a:pt x="353" y="949"/>
                    <a:pt x="367" y="951"/>
                    <a:pt x="382" y="952"/>
                  </a:cubicBezTo>
                  <a:cubicBezTo>
                    <a:pt x="384" y="952"/>
                    <a:pt x="387" y="948"/>
                    <a:pt x="386" y="948"/>
                  </a:cubicBezTo>
                  <a:cubicBezTo>
                    <a:pt x="381" y="947"/>
                    <a:pt x="376" y="947"/>
                    <a:pt x="371" y="947"/>
                  </a:cubicBezTo>
                  <a:cubicBezTo>
                    <a:pt x="363" y="946"/>
                    <a:pt x="354" y="944"/>
                    <a:pt x="347" y="943"/>
                  </a:cubicBezTo>
                  <a:cubicBezTo>
                    <a:pt x="334" y="941"/>
                    <a:pt x="316" y="940"/>
                    <a:pt x="302" y="941"/>
                  </a:cubicBezTo>
                  <a:cubicBezTo>
                    <a:pt x="303" y="940"/>
                    <a:pt x="304" y="940"/>
                    <a:pt x="304" y="940"/>
                  </a:cubicBezTo>
                  <a:cubicBezTo>
                    <a:pt x="315" y="934"/>
                    <a:pt x="335" y="926"/>
                    <a:pt x="348" y="926"/>
                  </a:cubicBezTo>
                  <a:cubicBezTo>
                    <a:pt x="353" y="926"/>
                    <a:pt x="361" y="926"/>
                    <a:pt x="367" y="928"/>
                  </a:cubicBezTo>
                  <a:cubicBezTo>
                    <a:pt x="371" y="929"/>
                    <a:pt x="378" y="933"/>
                    <a:pt x="381" y="933"/>
                  </a:cubicBezTo>
                  <a:cubicBezTo>
                    <a:pt x="389" y="933"/>
                    <a:pt x="383" y="917"/>
                    <a:pt x="383" y="911"/>
                  </a:cubicBezTo>
                  <a:cubicBezTo>
                    <a:pt x="382" y="900"/>
                    <a:pt x="390" y="891"/>
                    <a:pt x="399" y="885"/>
                  </a:cubicBezTo>
                  <a:cubicBezTo>
                    <a:pt x="399" y="894"/>
                    <a:pt x="403" y="916"/>
                    <a:pt x="410" y="916"/>
                  </a:cubicBezTo>
                  <a:cubicBezTo>
                    <a:pt x="415" y="916"/>
                    <a:pt x="412" y="910"/>
                    <a:pt x="411" y="908"/>
                  </a:cubicBezTo>
                  <a:cubicBezTo>
                    <a:pt x="409" y="905"/>
                    <a:pt x="407" y="897"/>
                    <a:pt x="407" y="894"/>
                  </a:cubicBezTo>
                  <a:cubicBezTo>
                    <a:pt x="407" y="888"/>
                    <a:pt x="408" y="882"/>
                    <a:pt x="413" y="878"/>
                  </a:cubicBezTo>
                  <a:cubicBezTo>
                    <a:pt x="417" y="877"/>
                    <a:pt x="420" y="876"/>
                    <a:pt x="424" y="876"/>
                  </a:cubicBezTo>
                  <a:cubicBezTo>
                    <a:pt x="422" y="879"/>
                    <a:pt x="419" y="884"/>
                    <a:pt x="419" y="887"/>
                  </a:cubicBezTo>
                  <a:cubicBezTo>
                    <a:pt x="419" y="892"/>
                    <a:pt x="420" y="895"/>
                    <a:pt x="422" y="900"/>
                  </a:cubicBezTo>
                  <a:cubicBezTo>
                    <a:pt x="423" y="902"/>
                    <a:pt x="425" y="904"/>
                    <a:pt x="427" y="906"/>
                  </a:cubicBezTo>
                  <a:cubicBezTo>
                    <a:pt x="437" y="917"/>
                    <a:pt x="450" y="921"/>
                    <a:pt x="464" y="923"/>
                  </a:cubicBezTo>
                  <a:cubicBezTo>
                    <a:pt x="504" y="923"/>
                    <a:pt x="538" y="909"/>
                    <a:pt x="579" y="911"/>
                  </a:cubicBezTo>
                  <a:cubicBezTo>
                    <a:pt x="612" y="912"/>
                    <a:pt x="646" y="913"/>
                    <a:pt x="657" y="920"/>
                  </a:cubicBezTo>
                  <a:cubicBezTo>
                    <a:pt x="655" y="929"/>
                    <a:pt x="650" y="937"/>
                    <a:pt x="650" y="948"/>
                  </a:cubicBezTo>
                  <a:cubicBezTo>
                    <a:pt x="650" y="968"/>
                    <a:pt x="658" y="980"/>
                    <a:pt x="676" y="990"/>
                  </a:cubicBezTo>
                  <a:cubicBezTo>
                    <a:pt x="675" y="991"/>
                    <a:pt x="675" y="992"/>
                    <a:pt x="675" y="993"/>
                  </a:cubicBezTo>
                  <a:cubicBezTo>
                    <a:pt x="672" y="1001"/>
                    <a:pt x="668" y="1017"/>
                    <a:pt x="664" y="1035"/>
                  </a:cubicBezTo>
                  <a:cubicBezTo>
                    <a:pt x="630" y="1051"/>
                    <a:pt x="589" y="1057"/>
                    <a:pt x="549" y="1062"/>
                  </a:cubicBezTo>
                  <a:close/>
                  <a:moveTo>
                    <a:pt x="578" y="1404"/>
                  </a:moveTo>
                  <a:cubicBezTo>
                    <a:pt x="576" y="1404"/>
                    <a:pt x="575" y="1403"/>
                    <a:pt x="574" y="1403"/>
                  </a:cubicBezTo>
                  <a:cubicBezTo>
                    <a:pt x="572" y="1403"/>
                    <a:pt x="571" y="1403"/>
                    <a:pt x="569" y="1403"/>
                  </a:cubicBezTo>
                  <a:cubicBezTo>
                    <a:pt x="568" y="1403"/>
                    <a:pt x="568" y="1403"/>
                    <a:pt x="566" y="1403"/>
                  </a:cubicBezTo>
                  <a:cubicBezTo>
                    <a:pt x="571" y="1397"/>
                    <a:pt x="578" y="1391"/>
                    <a:pt x="587" y="1388"/>
                  </a:cubicBezTo>
                  <a:cubicBezTo>
                    <a:pt x="594" y="1385"/>
                    <a:pt x="605" y="1383"/>
                    <a:pt x="614" y="1391"/>
                  </a:cubicBezTo>
                  <a:cubicBezTo>
                    <a:pt x="615" y="1391"/>
                    <a:pt x="618" y="1394"/>
                    <a:pt x="616" y="1400"/>
                  </a:cubicBezTo>
                  <a:cubicBezTo>
                    <a:pt x="613" y="1406"/>
                    <a:pt x="604" y="1412"/>
                    <a:pt x="599" y="1411"/>
                  </a:cubicBezTo>
                  <a:cubicBezTo>
                    <a:pt x="593" y="1410"/>
                    <a:pt x="590" y="1408"/>
                    <a:pt x="587" y="1407"/>
                  </a:cubicBezTo>
                  <a:cubicBezTo>
                    <a:pt x="584" y="1406"/>
                    <a:pt x="582" y="1404"/>
                    <a:pt x="578" y="1404"/>
                  </a:cubicBezTo>
                  <a:close/>
                  <a:moveTo>
                    <a:pt x="605" y="1532"/>
                  </a:moveTo>
                  <a:cubicBezTo>
                    <a:pt x="604" y="1531"/>
                    <a:pt x="603" y="1530"/>
                    <a:pt x="603" y="1529"/>
                  </a:cubicBezTo>
                  <a:cubicBezTo>
                    <a:pt x="601" y="1522"/>
                    <a:pt x="602" y="1505"/>
                    <a:pt x="605" y="1499"/>
                  </a:cubicBezTo>
                  <a:cubicBezTo>
                    <a:pt x="609" y="1491"/>
                    <a:pt x="617" y="1485"/>
                    <a:pt x="623" y="1484"/>
                  </a:cubicBezTo>
                  <a:cubicBezTo>
                    <a:pt x="623" y="1484"/>
                    <a:pt x="623" y="1484"/>
                    <a:pt x="624" y="1484"/>
                  </a:cubicBezTo>
                  <a:cubicBezTo>
                    <a:pt x="627" y="1484"/>
                    <a:pt x="631" y="1486"/>
                    <a:pt x="634" y="1490"/>
                  </a:cubicBezTo>
                  <a:cubicBezTo>
                    <a:pt x="639" y="1499"/>
                    <a:pt x="634" y="1505"/>
                    <a:pt x="628" y="1509"/>
                  </a:cubicBezTo>
                  <a:cubicBezTo>
                    <a:pt x="618" y="1517"/>
                    <a:pt x="610" y="1523"/>
                    <a:pt x="605" y="1532"/>
                  </a:cubicBezTo>
                  <a:close/>
                  <a:moveTo>
                    <a:pt x="740" y="1509"/>
                  </a:moveTo>
                  <a:cubicBezTo>
                    <a:pt x="739" y="1511"/>
                    <a:pt x="737" y="1513"/>
                    <a:pt x="736" y="1515"/>
                  </a:cubicBezTo>
                  <a:cubicBezTo>
                    <a:pt x="734" y="1518"/>
                    <a:pt x="732" y="1521"/>
                    <a:pt x="730" y="1523"/>
                  </a:cubicBezTo>
                  <a:cubicBezTo>
                    <a:pt x="730" y="1524"/>
                    <a:pt x="729" y="1525"/>
                    <a:pt x="728" y="1526"/>
                  </a:cubicBezTo>
                  <a:cubicBezTo>
                    <a:pt x="720" y="1514"/>
                    <a:pt x="716" y="1504"/>
                    <a:pt x="718" y="1496"/>
                  </a:cubicBezTo>
                  <a:cubicBezTo>
                    <a:pt x="718" y="1491"/>
                    <a:pt x="721" y="1487"/>
                    <a:pt x="727" y="1484"/>
                  </a:cubicBezTo>
                  <a:cubicBezTo>
                    <a:pt x="728" y="1483"/>
                    <a:pt x="730" y="1483"/>
                    <a:pt x="731" y="1483"/>
                  </a:cubicBezTo>
                  <a:cubicBezTo>
                    <a:pt x="734" y="1483"/>
                    <a:pt x="737" y="1484"/>
                    <a:pt x="738" y="1485"/>
                  </a:cubicBezTo>
                  <a:cubicBezTo>
                    <a:pt x="743" y="1488"/>
                    <a:pt x="747" y="1494"/>
                    <a:pt x="746" y="1498"/>
                  </a:cubicBezTo>
                  <a:cubicBezTo>
                    <a:pt x="746" y="1503"/>
                    <a:pt x="744" y="1505"/>
                    <a:pt x="740" y="1509"/>
                  </a:cubicBezTo>
                  <a:close/>
                  <a:moveTo>
                    <a:pt x="849" y="1421"/>
                  </a:moveTo>
                  <a:cubicBezTo>
                    <a:pt x="848" y="1420"/>
                    <a:pt x="846" y="1418"/>
                    <a:pt x="845" y="1416"/>
                  </a:cubicBezTo>
                  <a:cubicBezTo>
                    <a:pt x="841" y="1408"/>
                    <a:pt x="839" y="1406"/>
                    <a:pt x="832" y="1403"/>
                  </a:cubicBezTo>
                  <a:cubicBezTo>
                    <a:pt x="831" y="1403"/>
                    <a:pt x="830" y="1402"/>
                    <a:pt x="829" y="1402"/>
                  </a:cubicBezTo>
                  <a:cubicBezTo>
                    <a:pt x="827" y="1401"/>
                    <a:pt x="826" y="1401"/>
                    <a:pt x="826" y="1401"/>
                  </a:cubicBezTo>
                  <a:cubicBezTo>
                    <a:pt x="825" y="1398"/>
                    <a:pt x="824" y="1396"/>
                    <a:pt x="824" y="1394"/>
                  </a:cubicBezTo>
                  <a:cubicBezTo>
                    <a:pt x="824" y="1393"/>
                    <a:pt x="824" y="1392"/>
                    <a:pt x="824" y="1391"/>
                  </a:cubicBezTo>
                  <a:cubicBezTo>
                    <a:pt x="824" y="1389"/>
                    <a:pt x="825" y="1388"/>
                    <a:pt x="825" y="1387"/>
                  </a:cubicBezTo>
                  <a:cubicBezTo>
                    <a:pt x="827" y="1385"/>
                    <a:pt x="831" y="1382"/>
                    <a:pt x="833" y="1382"/>
                  </a:cubicBezTo>
                  <a:cubicBezTo>
                    <a:pt x="834" y="1382"/>
                    <a:pt x="834" y="1382"/>
                    <a:pt x="835" y="1382"/>
                  </a:cubicBezTo>
                  <a:cubicBezTo>
                    <a:pt x="840" y="1382"/>
                    <a:pt x="844" y="1383"/>
                    <a:pt x="847" y="1386"/>
                  </a:cubicBezTo>
                  <a:cubicBezTo>
                    <a:pt x="851" y="1390"/>
                    <a:pt x="853" y="1397"/>
                    <a:pt x="853" y="1405"/>
                  </a:cubicBezTo>
                  <a:cubicBezTo>
                    <a:pt x="852" y="1414"/>
                    <a:pt x="851" y="1418"/>
                    <a:pt x="849" y="142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136;p1">
              <a:extLst>
                <a:ext uri="{FF2B5EF4-FFF2-40B4-BE49-F238E27FC236}">
                  <a16:creationId xmlns:a16="http://schemas.microsoft.com/office/drawing/2014/main" id="{152BCED1-1E26-46DE-8F94-D52B235A73E3}"/>
                </a:ext>
              </a:extLst>
            </p:cNvPr>
            <p:cNvSpPr/>
            <p:nvPr/>
          </p:nvSpPr>
          <p:spPr>
            <a:xfrm>
              <a:off x="13490575" y="2032000"/>
              <a:ext cx="1395413" cy="1385888"/>
            </a:xfrm>
            <a:custGeom>
              <a:avLst/>
              <a:gdLst/>
              <a:ahLst/>
              <a:cxnLst/>
              <a:rect l="l" t="t" r="r" b="b"/>
              <a:pathLst>
                <a:path w="2492" h="2476" extrusionOk="0">
                  <a:moveTo>
                    <a:pt x="2433" y="2236"/>
                  </a:moveTo>
                  <a:cubicBezTo>
                    <a:pt x="2406" y="2209"/>
                    <a:pt x="2370" y="2195"/>
                    <a:pt x="2334" y="2195"/>
                  </a:cubicBezTo>
                  <a:cubicBezTo>
                    <a:pt x="2318" y="2195"/>
                    <a:pt x="2303" y="2198"/>
                    <a:pt x="2289" y="2202"/>
                  </a:cubicBezTo>
                  <a:cubicBezTo>
                    <a:pt x="2286" y="2199"/>
                    <a:pt x="2279" y="2191"/>
                    <a:pt x="2269" y="2179"/>
                  </a:cubicBezTo>
                  <a:cubicBezTo>
                    <a:pt x="2269" y="2179"/>
                    <a:pt x="2269" y="2179"/>
                    <a:pt x="2269" y="2179"/>
                  </a:cubicBezTo>
                  <a:cubicBezTo>
                    <a:pt x="2260" y="2169"/>
                    <a:pt x="2250" y="2156"/>
                    <a:pt x="2237" y="2142"/>
                  </a:cubicBezTo>
                  <a:cubicBezTo>
                    <a:pt x="2227" y="2130"/>
                    <a:pt x="2216" y="2118"/>
                    <a:pt x="2205" y="2105"/>
                  </a:cubicBezTo>
                  <a:cubicBezTo>
                    <a:pt x="2205" y="2105"/>
                    <a:pt x="2205" y="2105"/>
                    <a:pt x="2205" y="2105"/>
                  </a:cubicBezTo>
                  <a:cubicBezTo>
                    <a:pt x="2194" y="2093"/>
                    <a:pt x="2183" y="2081"/>
                    <a:pt x="2172" y="2068"/>
                  </a:cubicBezTo>
                  <a:cubicBezTo>
                    <a:pt x="2162" y="2056"/>
                    <a:pt x="2151" y="2044"/>
                    <a:pt x="2139" y="2031"/>
                  </a:cubicBezTo>
                  <a:cubicBezTo>
                    <a:pt x="2129" y="2019"/>
                    <a:pt x="2118" y="2007"/>
                    <a:pt x="2107" y="1995"/>
                  </a:cubicBezTo>
                  <a:cubicBezTo>
                    <a:pt x="2096" y="1983"/>
                    <a:pt x="2085" y="1971"/>
                    <a:pt x="2074" y="1959"/>
                  </a:cubicBezTo>
                  <a:cubicBezTo>
                    <a:pt x="2063" y="1947"/>
                    <a:pt x="2052" y="1935"/>
                    <a:pt x="2041" y="1923"/>
                  </a:cubicBezTo>
                  <a:cubicBezTo>
                    <a:pt x="2029" y="1911"/>
                    <a:pt x="2018" y="1899"/>
                    <a:pt x="2007" y="1888"/>
                  </a:cubicBezTo>
                  <a:cubicBezTo>
                    <a:pt x="2007" y="1888"/>
                    <a:pt x="2007" y="1888"/>
                    <a:pt x="2007" y="1888"/>
                  </a:cubicBezTo>
                  <a:cubicBezTo>
                    <a:pt x="1996" y="1876"/>
                    <a:pt x="1985" y="1864"/>
                    <a:pt x="1973" y="1853"/>
                  </a:cubicBezTo>
                  <a:cubicBezTo>
                    <a:pt x="1973" y="1853"/>
                    <a:pt x="1973" y="1853"/>
                    <a:pt x="1973" y="1853"/>
                  </a:cubicBezTo>
                  <a:cubicBezTo>
                    <a:pt x="1962" y="1841"/>
                    <a:pt x="1950" y="1830"/>
                    <a:pt x="1939" y="1819"/>
                  </a:cubicBezTo>
                  <a:cubicBezTo>
                    <a:pt x="1932" y="1812"/>
                    <a:pt x="1925" y="1805"/>
                    <a:pt x="1918" y="1799"/>
                  </a:cubicBezTo>
                  <a:cubicBezTo>
                    <a:pt x="1917" y="1798"/>
                    <a:pt x="1917" y="1798"/>
                    <a:pt x="1917" y="1798"/>
                  </a:cubicBezTo>
                  <a:cubicBezTo>
                    <a:pt x="1916" y="1796"/>
                    <a:pt x="1915" y="1795"/>
                    <a:pt x="1914" y="1795"/>
                  </a:cubicBezTo>
                  <a:cubicBezTo>
                    <a:pt x="1988" y="1723"/>
                    <a:pt x="2111" y="1609"/>
                    <a:pt x="2178" y="1567"/>
                  </a:cubicBezTo>
                  <a:cubicBezTo>
                    <a:pt x="2184" y="1563"/>
                    <a:pt x="2184" y="1553"/>
                    <a:pt x="2178" y="1549"/>
                  </a:cubicBezTo>
                  <a:cubicBezTo>
                    <a:pt x="2106" y="1503"/>
                    <a:pt x="2071" y="1487"/>
                    <a:pt x="2056" y="1482"/>
                  </a:cubicBezTo>
                  <a:cubicBezTo>
                    <a:pt x="2055" y="1482"/>
                    <a:pt x="2054" y="1481"/>
                    <a:pt x="2053" y="1481"/>
                  </a:cubicBezTo>
                  <a:cubicBezTo>
                    <a:pt x="2049" y="1481"/>
                    <a:pt x="2045" y="1484"/>
                    <a:pt x="2043" y="1488"/>
                  </a:cubicBezTo>
                  <a:cubicBezTo>
                    <a:pt x="2033" y="1512"/>
                    <a:pt x="1999" y="1584"/>
                    <a:pt x="1900" y="1698"/>
                  </a:cubicBezTo>
                  <a:cubicBezTo>
                    <a:pt x="1896" y="1694"/>
                    <a:pt x="1878" y="1677"/>
                    <a:pt x="1850" y="1650"/>
                  </a:cubicBezTo>
                  <a:cubicBezTo>
                    <a:pt x="1858" y="1634"/>
                    <a:pt x="1867" y="1617"/>
                    <a:pt x="1874" y="1600"/>
                  </a:cubicBezTo>
                  <a:cubicBezTo>
                    <a:pt x="1909" y="1520"/>
                    <a:pt x="1933" y="1428"/>
                    <a:pt x="1936" y="1358"/>
                  </a:cubicBezTo>
                  <a:cubicBezTo>
                    <a:pt x="1936" y="1357"/>
                    <a:pt x="1936" y="1357"/>
                    <a:pt x="1936" y="1356"/>
                  </a:cubicBezTo>
                  <a:cubicBezTo>
                    <a:pt x="1936" y="658"/>
                    <a:pt x="1936" y="658"/>
                    <a:pt x="1936" y="658"/>
                  </a:cubicBezTo>
                  <a:cubicBezTo>
                    <a:pt x="2058" y="526"/>
                    <a:pt x="2173" y="402"/>
                    <a:pt x="2271" y="298"/>
                  </a:cubicBezTo>
                  <a:cubicBezTo>
                    <a:pt x="2431" y="127"/>
                    <a:pt x="2480" y="24"/>
                    <a:pt x="2482" y="20"/>
                  </a:cubicBezTo>
                  <a:cubicBezTo>
                    <a:pt x="2492" y="0"/>
                    <a:pt x="2492" y="0"/>
                    <a:pt x="2492" y="0"/>
                  </a:cubicBezTo>
                  <a:cubicBezTo>
                    <a:pt x="2471" y="8"/>
                    <a:pt x="2471" y="8"/>
                    <a:pt x="2471" y="8"/>
                  </a:cubicBezTo>
                  <a:cubicBezTo>
                    <a:pt x="2466" y="10"/>
                    <a:pt x="2356" y="56"/>
                    <a:pt x="2150" y="243"/>
                  </a:cubicBezTo>
                  <a:cubicBezTo>
                    <a:pt x="2085" y="302"/>
                    <a:pt x="2012" y="368"/>
                    <a:pt x="1936" y="438"/>
                  </a:cubicBezTo>
                  <a:cubicBezTo>
                    <a:pt x="1936" y="425"/>
                    <a:pt x="1936" y="425"/>
                    <a:pt x="1936" y="425"/>
                  </a:cubicBezTo>
                  <a:cubicBezTo>
                    <a:pt x="1936" y="407"/>
                    <a:pt x="1922" y="392"/>
                    <a:pt x="1903" y="392"/>
                  </a:cubicBezTo>
                  <a:cubicBezTo>
                    <a:pt x="589" y="392"/>
                    <a:pt x="589" y="392"/>
                    <a:pt x="589" y="392"/>
                  </a:cubicBezTo>
                  <a:cubicBezTo>
                    <a:pt x="570" y="392"/>
                    <a:pt x="556" y="407"/>
                    <a:pt x="556" y="425"/>
                  </a:cubicBezTo>
                  <a:cubicBezTo>
                    <a:pt x="556" y="438"/>
                    <a:pt x="556" y="438"/>
                    <a:pt x="556" y="438"/>
                  </a:cubicBezTo>
                  <a:cubicBezTo>
                    <a:pt x="480" y="368"/>
                    <a:pt x="407" y="302"/>
                    <a:pt x="342" y="243"/>
                  </a:cubicBezTo>
                  <a:cubicBezTo>
                    <a:pt x="136" y="56"/>
                    <a:pt x="26" y="10"/>
                    <a:pt x="21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2" y="24"/>
                    <a:pt x="61" y="127"/>
                    <a:pt x="221" y="298"/>
                  </a:cubicBezTo>
                  <a:cubicBezTo>
                    <a:pt x="319" y="402"/>
                    <a:pt x="434" y="526"/>
                    <a:pt x="556" y="658"/>
                  </a:cubicBezTo>
                  <a:cubicBezTo>
                    <a:pt x="556" y="1356"/>
                    <a:pt x="556" y="1356"/>
                    <a:pt x="556" y="1356"/>
                  </a:cubicBezTo>
                  <a:cubicBezTo>
                    <a:pt x="556" y="1357"/>
                    <a:pt x="556" y="1357"/>
                    <a:pt x="556" y="1358"/>
                  </a:cubicBezTo>
                  <a:cubicBezTo>
                    <a:pt x="559" y="1428"/>
                    <a:pt x="583" y="1520"/>
                    <a:pt x="618" y="1600"/>
                  </a:cubicBezTo>
                  <a:cubicBezTo>
                    <a:pt x="625" y="1617"/>
                    <a:pt x="634" y="1634"/>
                    <a:pt x="642" y="1650"/>
                  </a:cubicBezTo>
                  <a:cubicBezTo>
                    <a:pt x="614" y="1677"/>
                    <a:pt x="597" y="1694"/>
                    <a:pt x="592" y="1698"/>
                  </a:cubicBezTo>
                  <a:cubicBezTo>
                    <a:pt x="493" y="1584"/>
                    <a:pt x="459" y="1512"/>
                    <a:pt x="449" y="1488"/>
                  </a:cubicBezTo>
                  <a:cubicBezTo>
                    <a:pt x="447" y="1484"/>
                    <a:pt x="443" y="1481"/>
                    <a:pt x="439" y="1481"/>
                  </a:cubicBezTo>
                  <a:cubicBezTo>
                    <a:pt x="438" y="1481"/>
                    <a:pt x="437" y="1482"/>
                    <a:pt x="436" y="1482"/>
                  </a:cubicBezTo>
                  <a:cubicBezTo>
                    <a:pt x="421" y="1487"/>
                    <a:pt x="386" y="1503"/>
                    <a:pt x="314" y="1549"/>
                  </a:cubicBezTo>
                  <a:cubicBezTo>
                    <a:pt x="308" y="1553"/>
                    <a:pt x="308" y="1563"/>
                    <a:pt x="314" y="1567"/>
                  </a:cubicBezTo>
                  <a:cubicBezTo>
                    <a:pt x="381" y="1609"/>
                    <a:pt x="504" y="1723"/>
                    <a:pt x="578" y="1795"/>
                  </a:cubicBezTo>
                  <a:cubicBezTo>
                    <a:pt x="577" y="1795"/>
                    <a:pt x="576" y="1796"/>
                    <a:pt x="575" y="1798"/>
                  </a:cubicBezTo>
                  <a:cubicBezTo>
                    <a:pt x="574" y="1799"/>
                    <a:pt x="574" y="1799"/>
                    <a:pt x="574" y="1799"/>
                  </a:cubicBezTo>
                  <a:cubicBezTo>
                    <a:pt x="567" y="1805"/>
                    <a:pt x="560" y="1812"/>
                    <a:pt x="553" y="1819"/>
                  </a:cubicBezTo>
                  <a:cubicBezTo>
                    <a:pt x="542" y="1830"/>
                    <a:pt x="530" y="1841"/>
                    <a:pt x="519" y="1853"/>
                  </a:cubicBezTo>
                  <a:cubicBezTo>
                    <a:pt x="519" y="1853"/>
                    <a:pt x="519" y="1853"/>
                    <a:pt x="519" y="1853"/>
                  </a:cubicBezTo>
                  <a:cubicBezTo>
                    <a:pt x="507" y="1864"/>
                    <a:pt x="496" y="1876"/>
                    <a:pt x="485" y="1888"/>
                  </a:cubicBezTo>
                  <a:cubicBezTo>
                    <a:pt x="474" y="1899"/>
                    <a:pt x="463" y="1911"/>
                    <a:pt x="451" y="1923"/>
                  </a:cubicBezTo>
                  <a:cubicBezTo>
                    <a:pt x="440" y="1935"/>
                    <a:pt x="429" y="1947"/>
                    <a:pt x="418" y="1959"/>
                  </a:cubicBezTo>
                  <a:cubicBezTo>
                    <a:pt x="407" y="1971"/>
                    <a:pt x="396" y="1983"/>
                    <a:pt x="385" y="1995"/>
                  </a:cubicBezTo>
                  <a:cubicBezTo>
                    <a:pt x="374" y="2007"/>
                    <a:pt x="363" y="2019"/>
                    <a:pt x="353" y="2031"/>
                  </a:cubicBezTo>
                  <a:cubicBezTo>
                    <a:pt x="341" y="2044"/>
                    <a:pt x="330" y="2056"/>
                    <a:pt x="320" y="2068"/>
                  </a:cubicBezTo>
                  <a:cubicBezTo>
                    <a:pt x="309" y="2081"/>
                    <a:pt x="298" y="2093"/>
                    <a:pt x="287" y="2105"/>
                  </a:cubicBezTo>
                  <a:cubicBezTo>
                    <a:pt x="287" y="2105"/>
                    <a:pt x="287" y="2105"/>
                    <a:pt x="287" y="2105"/>
                  </a:cubicBezTo>
                  <a:cubicBezTo>
                    <a:pt x="276" y="2118"/>
                    <a:pt x="265" y="2130"/>
                    <a:pt x="255" y="2142"/>
                  </a:cubicBezTo>
                  <a:cubicBezTo>
                    <a:pt x="242" y="2156"/>
                    <a:pt x="232" y="2169"/>
                    <a:pt x="223" y="2179"/>
                  </a:cubicBezTo>
                  <a:cubicBezTo>
                    <a:pt x="223" y="2179"/>
                    <a:pt x="223" y="2179"/>
                    <a:pt x="223" y="2179"/>
                  </a:cubicBezTo>
                  <a:cubicBezTo>
                    <a:pt x="213" y="2191"/>
                    <a:pt x="206" y="2199"/>
                    <a:pt x="203" y="2202"/>
                  </a:cubicBezTo>
                  <a:cubicBezTo>
                    <a:pt x="189" y="2198"/>
                    <a:pt x="174" y="2195"/>
                    <a:pt x="158" y="2195"/>
                  </a:cubicBezTo>
                  <a:cubicBezTo>
                    <a:pt x="122" y="2195"/>
                    <a:pt x="86" y="2209"/>
                    <a:pt x="59" y="2236"/>
                  </a:cubicBezTo>
                  <a:cubicBezTo>
                    <a:pt x="12" y="2283"/>
                    <a:pt x="5" y="2354"/>
                    <a:pt x="38" y="2408"/>
                  </a:cubicBezTo>
                  <a:cubicBezTo>
                    <a:pt x="38" y="2408"/>
                    <a:pt x="38" y="2408"/>
                    <a:pt x="38" y="2408"/>
                  </a:cubicBezTo>
                  <a:cubicBezTo>
                    <a:pt x="38" y="2408"/>
                    <a:pt x="38" y="2408"/>
                    <a:pt x="38" y="2408"/>
                  </a:cubicBezTo>
                  <a:cubicBezTo>
                    <a:pt x="44" y="2418"/>
                    <a:pt x="51" y="2427"/>
                    <a:pt x="59" y="2435"/>
                  </a:cubicBezTo>
                  <a:cubicBezTo>
                    <a:pt x="51" y="2427"/>
                    <a:pt x="44" y="2418"/>
                    <a:pt x="38" y="2408"/>
                  </a:cubicBezTo>
                  <a:cubicBezTo>
                    <a:pt x="28" y="2421"/>
                    <a:pt x="29" y="2440"/>
                    <a:pt x="41" y="2452"/>
                  </a:cubicBezTo>
                  <a:cubicBezTo>
                    <a:pt x="53" y="2464"/>
                    <a:pt x="71" y="2465"/>
                    <a:pt x="85" y="2455"/>
                  </a:cubicBezTo>
                  <a:cubicBezTo>
                    <a:pt x="107" y="2469"/>
                    <a:pt x="133" y="2476"/>
                    <a:pt x="158" y="2476"/>
                  </a:cubicBezTo>
                  <a:cubicBezTo>
                    <a:pt x="194" y="2476"/>
                    <a:pt x="230" y="2463"/>
                    <a:pt x="258" y="2435"/>
                  </a:cubicBezTo>
                  <a:cubicBezTo>
                    <a:pt x="300" y="2393"/>
                    <a:pt x="310" y="2330"/>
                    <a:pt x="286" y="2278"/>
                  </a:cubicBezTo>
                  <a:cubicBezTo>
                    <a:pt x="293" y="2273"/>
                    <a:pt x="305" y="2263"/>
                    <a:pt x="321" y="2249"/>
                  </a:cubicBezTo>
                  <a:cubicBezTo>
                    <a:pt x="331" y="2240"/>
                    <a:pt x="343" y="2229"/>
                    <a:pt x="357" y="2218"/>
                  </a:cubicBezTo>
                  <a:cubicBezTo>
                    <a:pt x="357" y="2218"/>
                    <a:pt x="357" y="2218"/>
                    <a:pt x="357" y="2218"/>
                  </a:cubicBezTo>
                  <a:cubicBezTo>
                    <a:pt x="368" y="2208"/>
                    <a:pt x="380" y="2198"/>
                    <a:pt x="392" y="2186"/>
                  </a:cubicBezTo>
                  <a:cubicBezTo>
                    <a:pt x="392" y="2186"/>
                    <a:pt x="392" y="2186"/>
                    <a:pt x="392" y="2186"/>
                  </a:cubicBezTo>
                  <a:cubicBezTo>
                    <a:pt x="404" y="2176"/>
                    <a:pt x="416" y="2166"/>
                    <a:pt x="428" y="2155"/>
                  </a:cubicBezTo>
                  <a:cubicBezTo>
                    <a:pt x="428" y="2155"/>
                    <a:pt x="428" y="2155"/>
                    <a:pt x="428" y="2155"/>
                  </a:cubicBezTo>
                  <a:cubicBezTo>
                    <a:pt x="439" y="2145"/>
                    <a:pt x="451" y="2134"/>
                    <a:pt x="463" y="2123"/>
                  </a:cubicBezTo>
                  <a:cubicBezTo>
                    <a:pt x="475" y="2113"/>
                    <a:pt x="487" y="2102"/>
                    <a:pt x="499" y="2092"/>
                  </a:cubicBezTo>
                  <a:cubicBezTo>
                    <a:pt x="510" y="2081"/>
                    <a:pt x="522" y="2070"/>
                    <a:pt x="534" y="2059"/>
                  </a:cubicBezTo>
                  <a:cubicBezTo>
                    <a:pt x="534" y="2059"/>
                    <a:pt x="534" y="2059"/>
                    <a:pt x="534" y="2059"/>
                  </a:cubicBezTo>
                  <a:cubicBezTo>
                    <a:pt x="546" y="2049"/>
                    <a:pt x="557" y="2038"/>
                    <a:pt x="569" y="2027"/>
                  </a:cubicBezTo>
                  <a:cubicBezTo>
                    <a:pt x="580" y="2016"/>
                    <a:pt x="592" y="2005"/>
                    <a:pt x="603" y="1994"/>
                  </a:cubicBezTo>
                  <a:cubicBezTo>
                    <a:pt x="615" y="1982"/>
                    <a:pt x="627" y="1971"/>
                    <a:pt x="638" y="1960"/>
                  </a:cubicBezTo>
                  <a:cubicBezTo>
                    <a:pt x="638" y="1960"/>
                    <a:pt x="638" y="1960"/>
                    <a:pt x="638" y="1960"/>
                  </a:cubicBezTo>
                  <a:cubicBezTo>
                    <a:pt x="650" y="1948"/>
                    <a:pt x="661" y="1937"/>
                    <a:pt x="672" y="1926"/>
                  </a:cubicBezTo>
                  <a:cubicBezTo>
                    <a:pt x="677" y="1921"/>
                    <a:pt x="681" y="1916"/>
                    <a:pt x="687" y="1910"/>
                  </a:cubicBezTo>
                  <a:cubicBezTo>
                    <a:pt x="688" y="1908"/>
                    <a:pt x="689" y="1907"/>
                    <a:pt x="690" y="1906"/>
                  </a:cubicBezTo>
                  <a:cubicBezTo>
                    <a:pt x="760" y="1979"/>
                    <a:pt x="883" y="2110"/>
                    <a:pt x="927" y="2179"/>
                  </a:cubicBezTo>
                  <a:cubicBezTo>
                    <a:pt x="929" y="2183"/>
                    <a:pt x="932" y="2184"/>
                    <a:pt x="936" y="2184"/>
                  </a:cubicBezTo>
                  <a:cubicBezTo>
                    <a:pt x="939" y="2184"/>
                    <a:pt x="943" y="2183"/>
                    <a:pt x="945" y="2179"/>
                  </a:cubicBezTo>
                  <a:cubicBezTo>
                    <a:pt x="991" y="2107"/>
                    <a:pt x="1006" y="2073"/>
                    <a:pt x="1012" y="2058"/>
                  </a:cubicBezTo>
                  <a:cubicBezTo>
                    <a:pt x="1014" y="2053"/>
                    <a:pt x="1011" y="2047"/>
                    <a:pt x="1006" y="2045"/>
                  </a:cubicBezTo>
                  <a:cubicBezTo>
                    <a:pt x="981" y="2035"/>
                    <a:pt x="906" y="1999"/>
                    <a:pt x="786" y="1893"/>
                  </a:cubicBezTo>
                  <a:cubicBezTo>
                    <a:pt x="792" y="1887"/>
                    <a:pt x="801" y="1879"/>
                    <a:pt x="811" y="1869"/>
                  </a:cubicBezTo>
                  <a:cubicBezTo>
                    <a:pt x="899" y="1949"/>
                    <a:pt x="1029" y="2046"/>
                    <a:pt x="1242" y="2069"/>
                  </a:cubicBezTo>
                  <a:cubicBezTo>
                    <a:pt x="1244" y="2069"/>
                    <a:pt x="1245" y="2069"/>
                    <a:pt x="1246" y="2069"/>
                  </a:cubicBezTo>
                  <a:cubicBezTo>
                    <a:pt x="1247" y="2069"/>
                    <a:pt x="1248" y="2069"/>
                    <a:pt x="1250" y="2069"/>
                  </a:cubicBezTo>
                  <a:cubicBezTo>
                    <a:pt x="1463" y="2046"/>
                    <a:pt x="1592" y="1949"/>
                    <a:pt x="1681" y="1869"/>
                  </a:cubicBezTo>
                  <a:cubicBezTo>
                    <a:pt x="1691" y="1879"/>
                    <a:pt x="1700" y="1887"/>
                    <a:pt x="1706" y="1893"/>
                  </a:cubicBezTo>
                  <a:cubicBezTo>
                    <a:pt x="1586" y="1999"/>
                    <a:pt x="1511" y="2035"/>
                    <a:pt x="1486" y="2045"/>
                  </a:cubicBezTo>
                  <a:cubicBezTo>
                    <a:pt x="1481" y="2047"/>
                    <a:pt x="1478" y="2053"/>
                    <a:pt x="1480" y="2058"/>
                  </a:cubicBezTo>
                  <a:cubicBezTo>
                    <a:pt x="1486" y="2073"/>
                    <a:pt x="1501" y="2107"/>
                    <a:pt x="1547" y="2179"/>
                  </a:cubicBezTo>
                  <a:cubicBezTo>
                    <a:pt x="1549" y="2183"/>
                    <a:pt x="1553" y="2184"/>
                    <a:pt x="1556" y="2184"/>
                  </a:cubicBezTo>
                  <a:cubicBezTo>
                    <a:pt x="1560" y="2184"/>
                    <a:pt x="1563" y="2183"/>
                    <a:pt x="1565" y="2179"/>
                  </a:cubicBezTo>
                  <a:cubicBezTo>
                    <a:pt x="1609" y="2110"/>
                    <a:pt x="1732" y="1979"/>
                    <a:pt x="1802" y="1906"/>
                  </a:cubicBezTo>
                  <a:cubicBezTo>
                    <a:pt x="1803" y="1907"/>
                    <a:pt x="1804" y="1909"/>
                    <a:pt x="1806" y="1911"/>
                  </a:cubicBezTo>
                  <a:cubicBezTo>
                    <a:pt x="1811" y="1916"/>
                    <a:pt x="1815" y="1921"/>
                    <a:pt x="1820" y="1926"/>
                  </a:cubicBezTo>
                  <a:cubicBezTo>
                    <a:pt x="1831" y="1937"/>
                    <a:pt x="1842" y="1948"/>
                    <a:pt x="1854" y="1960"/>
                  </a:cubicBezTo>
                  <a:cubicBezTo>
                    <a:pt x="1854" y="1960"/>
                    <a:pt x="1854" y="1960"/>
                    <a:pt x="1854" y="1960"/>
                  </a:cubicBezTo>
                  <a:cubicBezTo>
                    <a:pt x="1865" y="1971"/>
                    <a:pt x="1877" y="1982"/>
                    <a:pt x="1889" y="1994"/>
                  </a:cubicBezTo>
                  <a:cubicBezTo>
                    <a:pt x="1900" y="2005"/>
                    <a:pt x="1912" y="2016"/>
                    <a:pt x="1923" y="2027"/>
                  </a:cubicBezTo>
                  <a:cubicBezTo>
                    <a:pt x="1935" y="2038"/>
                    <a:pt x="1946" y="2049"/>
                    <a:pt x="1958" y="2059"/>
                  </a:cubicBezTo>
                  <a:cubicBezTo>
                    <a:pt x="1958" y="2059"/>
                    <a:pt x="1958" y="2059"/>
                    <a:pt x="1958" y="2059"/>
                  </a:cubicBezTo>
                  <a:cubicBezTo>
                    <a:pt x="1970" y="2070"/>
                    <a:pt x="1982" y="2081"/>
                    <a:pt x="1993" y="2092"/>
                  </a:cubicBezTo>
                  <a:cubicBezTo>
                    <a:pt x="2005" y="2102"/>
                    <a:pt x="2017" y="2113"/>
                    <a:pt x="2029" y="2123"/>
                  </a:cubicBezTo>
                  <a:cubicBezTo>
                    <a:pt x="2041" y="2134"/>
                    <a:pt x="2053" y="2145"/>
                    <a:pt x="2064" y="2155"/>
                  </a:cubicBezTo>
                  <a:cubicBezTo>
                    <a:pt x="2064" y="2155"/>
                    <a:pt x="2064" y="2155"/>
                    <a:pt x="2064" y="2155"/>
                  </a:cubicBezTo>
                  <a:cubicBezTo>
                    <a:pt x="2076" y="2166"/>
                    <a:pt x="2088" y="2176"/>
                    <a:pt x="2100" y="2186"/>
                  </a:cubicBezTo>
                  <a:cubicBezTo>
                    <a:pt x="2100" y="2186"/>
                    <a:pt x="2100" y="2186"/>
                    <a:pt x="2100" y="2186"/>
                  </a:cubicBezTo>
                  <a:cubicBezTo>
                    <a:pt x="2112" y="2198"/>
                    <a:pt x="2124" y="2208"/>
                    <a:pt x="2135" y="2218"/>
                  </a:cubicBezTo>
                  <a:cubicBezTo>
                    <a:pt x="2135" y="2218"/>
                    <a:pt x="2135" y="2218"/>
                    <a:pt x="2135" y="2218"/>
                  </a:cubicBezTo>
                  <a:cubicBezTo>
                    <a:pt x="2149" y="2229"/>
                    <a:pt x="2161" y="2240"/>
                    <a:pt x="2171" y="2249"/>
                  </a:cubicBezTo>
                  <a:cubicBezTo>
                    <a:pt x="2187" y="2262"/>
                    <a:pt x="2199" y="2273"/>
                    <a:pt x="2206" y="2278"/>
                  </a:cubicBezTo>
                  <a:cubicBezTo>
                    <a:pt x="2182" y="2330"/>
                    <a:pt x="2192" y="2393"/>
                    <a:pt x="2234" y="2435"/>
                  </a:cubicBezTo>
                  <a:cubicBezTo>
                    <a:pt x="2262" y="2463"/>
                    <a:pt x="2298" y="2476"/>
                    <a:pt x="2334" y="2476"/>
                  </a:cubicBezTo>
                  <a:cubicBezTo>
                    <a:pt x="2359" y="2476"/>
                    <a:pt x="2384" y="2470"/>
                    <a:pt x="2406" y="2456"/>
                  </a:cubicBezTo>
                  <a:cubicBezTo>
                    <a:pt x="2419" y="2466"/>
                    <a:pt x="2438" y="2464"/>
                    <a:pt x="2450" y="2453"/>
                  </a:cubicBezTo>
                  <a:cubicBezTo>
                    <a:pt x="2462" y="2441"/>
                    <a:pt x="2463" y="2422"/>
                    <a:pt x="2453" y="2409"/>
                  </a:cubicBezTo>
                  <a:cubicBezTo>
                    <a:pt x="2454" y="2409"/>
                    <a:pt x="2454" y="2408"/>
                    <a:pt x="2454" y="2408"/>
                  </a:cubicBezTo>
                  <a:cubicBezTo>
                    <a:pt x="2487" y="2354"/>
                    <a:pt x="2480" y="2283"/>
                    <a:pt x="2433" y="2236"/>
                  </a:cubicBezTo>
                  <a:close/>
                  <a:moveTo>
                    <a:pt x="1936" y="585"/>
                  </a:moveTo>
                  <a:cubicBezTo>
                    <a:pt x="2043" y="473"/>
                    <a:pt x="2043" y="473"/>
                    <a:pt x="2043" y="473"/>
                  </a:cubicBezTo>
                  <a:cubicBezTo>
                    <a:pt x="1936" y="583"/>
                    <a:pt x="1936" y="583"/>
                    <a:pt x="1936" y="583"/>
                  </a:cubicBezTo>
                  <a:cubicBezTo>
                    <a:pt x="1936" y="504"/>
                    <a:pt x="1936" y="504"/>
                    <a:pt x="1936" y="504"/>
                  </a:cubicBezTo>
                  <a:cubicBezTo>
                    <a:pt x="2026" y="414"/>
                    <a:pt x="2026" y="414"/>
                    <a:pt x="2026" y="414"/>
                  </a:cubicBezTo>
                  <a:cubicBezTo>
                    <a:pt x="1936" y="501"/>
                    <a:pt x="1936" y="501"/>
                    <a:pt x="1936" y="501"/>
                  </a:cubicBezTo>
                  <a:cubicBezTo>
                    <a:pt x="1936" y="462"/>
                    <a:pt x="1936" y="462"/>
                    <a:pt x="1936" y="462"/>
                  </a:cubicBezTo>
                  <a:cubicBezTo>
                    <a:pt x="2017" y="388"/>
                    <a:pt x="2093" y="318"/>
                    <a:pt x="2162" y="256"/>
                  </a:cubicBezTo>
                  <a:cubicBezTo>
                    <a:pt x="2310" y="121"/>
                    <a:pt x="2410" y="60"/>
                    <a:pt x="2453" y="37"/>
                  </a:cubicBezTo>
                  <a:cubicBezTo>
                    <a:pt x="2430" y="77"/>
                    <a:pt x="2372" y="164"/>
                    <a:pt x="2258" y="286"/>
                  </a:cubicBezTo>
                  <a:cubicBezTo>
                    <a:pt x="2164" y="387"/>
                    <a:pt x="2053" y="505"/>
                    <a:pt x="1936" y="632"/>
                  </a:cubicBezTo>
                  <a:lnTo>
                    <a:pt x="1936" y="585"/>
                  </a:lnTo>
                  <a:close/>
                  <a:moveTo>
                    <a:pt x="556" y="501"/>
                  </a:moveTo>
                  <a:cubicBezTo>
                    <a:pt x="466" y="414"/>
                    <a:pt x="466" y="414"/>
                    <a:pt x="466" y="414"/>
                  </a:cubicBezTo>
                  <a:cubicBezTo>
                    <a:pt x="556" y="504"/>
                    <a:pt x="556" y="504"/>
                    <a:pt x="556" y="504"/>
                  </a:cubicBezTo>
                  <a:cubicBezTo>
                    <a:pt x="556" y="583"/>
                    <a:pt x="556" y="583"/>
                    <a:pt x="556" y="583"/>
                  </a:cubicBezTo>
                  <a:cubicBezTo>
                    <a:pt x="449" y="473"/>
                    <a:pt x="449" y="473"/>
                    <a:pt x="449" y="473"/>
                  </a:cubicBezTo>
                  <a:cubicBezTo>
                    <a:pt x="556" y="585"/>
                    <a:pt x="556" y="585"/>
                    <a:pt x="556" y="585"/>
                  </a:cubicBezTo>
                  <a:cubicBezTo>
                    <a:pt x="556" y="632"/>
                    <a:pt x="556" y="632"/>
                    <a:pt x="556" y="632"/>
                  </a:cubicBezTo>
                  <a:cubicBezTo>
                    <a:pt x="439" y="505"/>
                    <a:pt x="328" y="387"/>
                    <a:pt x="234" y="286"/>
                  </a:cubicBezTo>
                  <a:cubicBezTo>
                    <a:pt x="120" y="164"/>
                    <a:pt x="62" y="77"/>
                    <a:pt x="39" y="37"/>
                  </a:cubicBezTo>
                  <a:cubicBezTo>
                    <a:pt x="82" y="60"/>
                    <a:pt x="182" y="121"/>
                    <a:pt x="330" y="256"/>
                  </a:cubicBezTo>
                  <a:cubicBezTo>
                    <a:pt x="399" y="318"/>
                    <a:pt x="475" y="388"/>
                    <a:pt x="556" y="462"/>
                  </a:cubicBezTo>
                  <a:lnTo>
                    <a:pt x="556" y="501"/>
                  </a:lnTo>
                  <a:close/>
                  <a:moveTo>
                    <a:pt x="2264" y="2200"/>
                  </a:moveTo>
                  <a:cubicBezTo>
                    <a:pt x="2267" y="2204"/>
                    <a:pt x="2270" y="2207"/>
                    <a:pt x="2272" y="2209"/>
                  </a:cubicBezTo>
                  <a:cubicBezTo>
                    <a:pt x="2271" y="2210"/>
                    <a:pt x="2271" y="2210"/>
                    <a:pt x="2271" y="2210"/>
                  </a:cubicBezTo>
                  <a:cubicBezTo>
                    <a:pt x="2265" y="2213"/>
                    <a:pt x="2258" y="2217"/>
                    <a:pt x="2252" y="2221"/>
                  </a:cubicBezTo>
                  <a:lnTo>
                    <a:pt x="2264" y="2200"/>
                  </a:lnTo>
                  <a:close/>
                  <a:moveTo>
                    <a:pt x="1883" y="1706"/>
                  </a:moveTo>
                  <a:cubicBezTo>
                    <a:pt x="1866" y="1728"/>
                    <a:pt x="1853" y="1743"/>
                    <a:pt x="1843" y="1756"/>
                  </a:cubicBezTo>
                  <a:cubicBezTo>
                    <a:pt x="1809" y="1722"/>
                    <a:pt x="1809" y="1722"/>
                    <a:pt x="1809" y="1722"/>
                  </a:cubicBezTo>
                  <a:cubicBezTo>
                    <a:pt x="1820" y="1705"/>
                    <a:pt x="1831" y="1686"/>
                    <a:pt x="1841" y="1666"/>
                  </a:cubicBezTo>
                  <a:cubicBezTo>
                    <a:pt x="1861" y="1686"/>
                    <a:pt x="1876" y="1699"/>
                    <a:pt x="1883" y="1706"/>
                  </a:cubicBezTo>
                  <a:close/>
                  <a:moveTo>
                    <a:pt x="1822" y="1779"/>
                  </a:moveTo>
                  <a:cubicBezTo>
                    <a:pt x="1822" y="1780"/>
                    <a:pt x="1822" y="1780"/>
                    <a:pt x="1822" y="1780"/>
                  </a:cubicBezTo>
                  <a:cubicBezTo>
                    <a:pt x="1804" y="1798"/>
                    <a:pt x="1789" y="1813"/>
                    <a:pt x="1768" y="1831"/>
                  </a:cubicBezTo>
                  <a:cubicBezTo>
                    <a:pt x="1745" y="1807"/>
                    <a:pt x="1745" y="1807"/>
                    <a:pt x="1745" y="1807"/>
                  </a:cubicBezTo>
                  <a:cubicBezTo>
                    <a:pt x="1760" y="1791"/>
                    <a:pt x="1776" y="1771"/>
                    <a:pt x="1791" y="1748"/>
                  </a:cubicBezTo>
                  <a:lnTo>
                    <a:pt x="1822" y="1779"/>
                  </a:lnTo>
                  <a:close/>
                  <a:moveTo>
                    <a:pt x="651" y="1667"/>
                  </a:moveTo>
                  <a:cubicBezTo>
                    <a:pt x="661" y="1686"/>
                    <a:pt x="672" y="1705"/>
                    <a:pt x="683" y="1722"/>
                  </a:cubicBezTo>
                  <a:cubicBezTo>
                    <a:pt x="649" y="1756"/>
                    <a:pt x="649" y="1756"/>
                    <a:pt x="649" y="1756"/>
                  </a:cubicBezTo>
                  <a:cubicBezTo>
                    <a:pt x="639" y="1743"/>
                    <a:pt x="626" y="1728"/>
                    <a:pt x="609" y="1706"/>
                  </a:cubicBezTo>
                  <a:cubicBezTo>
                    <a:pt x="616" y="1699"/>
                    <a:pt x="631" y="1686"/>
                    <a:pt x="651" y="1667"/>
                  </a:cubicBezTo>
                  <a:close/>
                  <a:moveTo>
                    <a:pt x="701" y="1748"/>
                  </a:moveTo>
                  <a:cubicBezTo>
                    <a:pt x="716" y="1771"/>
                    <a:pt x="732" y="1791"/>
                    <a:pt x="747" y="1808"/>
                  </a:cubicBezTo>
                  <a:cubicBezTo>
                    <a:pt x="724" y="1831"/>
                    <a:pt x="724" y="1831"/>
                    <a:pt x="724" y="1831"/>
                  </a:cubicBezTo>
                  <a:cubicBezTo>
                    <a:pt x="703" y="1813"/>
                    <a:pt x="688" y="1798"/>
                    <a:pt x="670" y="1780"/>
                  </a:cubicBezTo>
                  <a:cubicBezTo>
                    <a:pt x="670" y="1779"/>
                    <a:pt x="670" y="1779"/>
                    <a:pt x="670" y="1779"/>
                  </a:cubicBezTo>
                  <a:lnTo>
                    <a:pt x="701" y="1748"/>
                  </a:lnTo>
                  <a:close/>
                  <a:moveTo>
                    <a:pt x="228" y="2200"/>
                  </a:moveTo>
                  <a:cubicBezTo>
                    <a:pt x="240" y="2221"/>
                    <a:pt x="240" y="2221"/>
                    <a:pt x="240" y="2221"/>
                  </a:cubicBezTo>
                  <a:cubicBezTo>
                    <a:pt x="234" y="2217"/>
                    <a:pt x="227" y="2213"/>
                    <a:pt x="220" y="2210"/>
                  </a:cubicBezTo>
                  <a:cubicBezTo>
                    <a:pt x="220" y="2209"/>
                    <a:pt x="220" y="2209"/>
                    <a:pt x="220" y="2209"/>
                  </a:cubicBezTo>
                  <a:cubicBezTo>
                    <a:pt x="222" y="2207"/>
                    <a:pt x="225" y="2204"/>
                    <a:pt x="228" y="2200"/>
                  </a:cubicBezTo>
                  <a:close/>
                  <a:moveTo>
                    <a:pt x="245" y="2423"/>
                  </a:moveTo>
                  <a:cubicBezTo>
                    <a:pt x="222" y="2446"/>
                    <a:pt x="191" y="2459"/>
                    <a:pt x="158" y="2459"/>
                  </a:cubicBezTo>
                  <a:cubicBezTo>
                    <a:pt x="136" y="2459"/>
                    <a:pt x="113" y="2452"/>
                    <a:pt x="94" y="2440"/>
                  </a:cubicBezTo>
                  <a:cubicBezTo>
                    <a:pt x="86" y="2435"/>
                    <a:pt x="78" y="2429"/>
                    <a:pt x="71" y="2423"/>
                  </a:cubicBezTo>
                  <a:cubicBezTo>
                    <a:pt x="64" y="2415"/>
                    <a:pt x="58" y="2408"/>
                    <a:pt x="53" y="2399"/>
                  </a:cubicBezTo>
                  <a:cubicBezTo>
                    <a:pt x="24" y="2351"/>
                    <a:pt x="31" y="2289"/>
                    <a:pt x="71" y="2249"/>
                  </a:cubicBezTo>
                  <a:cubicBezTo>
                    <a:pt x="95" y="2225"/>
                    <a:pt x="126" y="2213"/>
                    <a:pt x="158" y="2213"/>
                  </a:cubicBezTo>
                  <a:cubicBezTo>
                    <a:pt x="174" y="2213"/>
                    <a:pt x="190" y="2216"/>
                    <a:pt x="204" y="2222"/>
                  </a:cubicBezTo>
                  <a:cubicBezTo>
                    <a:pt x="268" y="2285"/>
                    <a:pt x="268" y="2285"/>
                    <a:pt x="268" y="2285"/>
                  </a:cubicBezTo>
                  <a:cubicBezTo>
                    <a:pt x="269" y="2286"/>
                    <a:pt x="270" y="2287"/>
                    <a:pt x="272" y="2288"/>
                  </a:cubicBezTo>
                  <a:cubicBezTo>
                    <a:pt x="291" y="2334"/>
                    <a:pt x="281" y="2387"/>
                    <a:pt x="245" y="2423"/>
                  </a:cubicBezTo>
                  <a:close/>
                  <a:moveTo>
                    <a:pt x="282" y="2259"/>
                  </a:moveTo>
                  <a:cubicBezTo>
                    <a:pt x="240" y="2186"/>
                    <a:pt x="240" y="2186"/>
                    <a:pt x="240" y="2186"/>
                  </a:cubicBezTo>
                  <a:cubicBezTo>
                    <a:pt x="246" y="2179"/>
                    <a:pt x="253" y="2171"/>
                    <a:pt x="260" y="2163"/>
                  </a:cubicBezTo>
                  <a:cubicBezTo>
                    <a:pt x="298" y="2229"/>
                    <a:pt x="298" y="2229"/>
                    <a:pt x="298" y="2229"/>
                  </a:cubicBezTo>
                  <a:cubicBezTo>
                    <a:pt x="304" y="2240"/>
                    <a:pt x="304" y="2240"/>
                    <a:pt x="304" y="2240"/>
                  </a:cubicBezTo>
                  <a:cubicBezTo>
                    <a:pt x="295" y="2248"/>
                    <a:pt x="287" y="2254"/>
                    <a:pt x="282" y="2259"/>
                  </a:cubicBezTo>
                  <a:close/>
                  <a:moveTo>
                    <a:pt x="318" y="2228"/>
                  </a:moveTo>
                  <a:cubicBezTo>
                    <a:pt x="299" y="2195"/>
                    <a:pt x="299" y="2195"/>
                    <a:pt x="299" y="2195"/>
                  </a:cubicBezTo>
                  <a:cubicBezTo>
                    <a:pt x="273" y="2149"/>
                    <a:pt x="273" y="2149"/>
                    <a:pt x="273" y="2149"/>
                  </a:cubicBezTo>
                  <a:cubicBezTo>
                    <a:pt x="279" y="2141"/>
                    <a:pt x="286" y="2134"/>
                    <a:pt x="293" y="2126"/>
                  </a:cubicBezTo>
                  <a:cubicBezTo>
                    <a:pt x="340" y="2209"/>
                    <a:pt x="340" y="2209"/>
                    <a:pt x="340" y="2209"/>
                  </a:cubicBezTo>
                  <a:cubicBezTo>
                    <a:pt x="332" y="2216"/>
                    <a:pt x="324" y="2222"/>
                    <a:pt x="318" y="2228"/>
                  </a:cubicBezTo>
                  <a:close/>
                  <a:moveTo>
                    <a:pt x="353" y="2197"/>
                  </a:moveTo>
                  <a:cubicBezTo>
                    <a:pt x="305" y="2111"/>
                    <a:pt x="305" y="2111"/>
                    <a:pt x="305" y="2111"/>
                  </a:cubicBezTo>
                  <a:cubicBezTo>
                    <a:pt x="311" y="2104"/>
                    <a:pt x="318" y="2096"/>
                    <a:pt x="325" y="2089"/>
                  </a:cubicBezTo>
                  <a:cubicBezTo>
                    <a:pt x="375" y="2178"/>
                    <a:pt x="375" y="2178"/>
                    <a:pt x="375" y="2178"/>
                  </a:cubicBezTo>
                  <a:cubicBezTo>
                    <a:pt x="368" y="2185"/>
                    <a:pt x="360" y="2191"/>
                    <a:pt x="353" y="2197"/>
                  </a:cubicBezTo>
                  <a:close/>
                  <a:moveTo>
                    <a:pt x="389" y="2166"/>
                  </a:moveTo>
                  <a:cubicBezTo>
                    <a:pt x="343" y="2085"/>
                    <a:pt x="343" y="2085"/>
                    <a:pt x="343" y="2085"/>
                  </a:cubicBezTo>
                  <a:cubicBezTo>
                    <a:pt x="337" y="2075"/>
                    <a:pt x="337" y="2075"/>
                    <a:pt x="337" y="2075"/>
                  </a:cubicBezTo>
                  <a:cubicBezTo>
                    <a:pt x="344" y="2067"/>
                    <a:pt x="351" y="2060"/>
                    <a:pt x="357" y="2052"/>
                  </a:cubicBezTo>
                  <a:cubicBezTo>
                    <a:pt x="411" y="2147"/>
                    <a:pt x="411" y="2147"/>
                    <a:pt x="411" y="2147"/>
                  </a:cubicBezTo>
                  <a:cubicBezTo>
                    <a:pt x="403" y="2153"/>
                    <a:pt x="396" y="2160"/>
                    <a:pt x="389" y="2166"/>
                  </a:cubicBezTo>
                  <a:close/>
                  <a:moveTo>
                    <a:pt x="424" y="2135"/>
                  </a:moveTo>
                  <a:cubicBezTo>
                    <a:pt x="370" y="2038"/>
                    <a:pt x="370" y="2038"/>
                    <a:pt x="370" y="2038"/>
                  </a:cubicBezTo>
                  <a:cubicBezTo>
                    <a:pt x="377" y="2031"/>
                    <a:pt x="383" y="2023"/>
                    <a:pt x="390" y="2016"/>
                  </a:cubicBezTo>
                  <a:cubicBezTo>
                    <a:pt x="446" y="2115"/>
                    <a:pt x="446" y="2115"/>
                    <a:pt x="446" y="2115"/>
                  </a:cubicBezTo>
                  <a:cubicBezTo>
                    <a:pt x="439" y="2122"/>
                    <a:pt x="432" y="2128"/>
                    <a:pt x="424" y="2135"/>
                  </a:cubicBezTo>
                  <a:close/>
                  <a:moveTo>
                    <a:pt x="460" y="2103"/>
                  </a:moveTo>
                  <a:cubicBezTo>
                    <a:pt x="403" y="2002"/>
                    <a:pt x="403" y="2002"/>
                    <a:pt x="403" y="2002"/>
                  </a:cubicBezTo>
                  <a:cubicBezTo>
                    <a:pt x="409" y="1994"/>
                    <a:pt x="416" y="1987"/>
                    <a:pt x="423" y="1979"/>
                  </a:cubicBezTo>
                  <a:cubicBezTo>
                    <a:pt x="482" y="2083"/>
                    <a:pt x="482" y="2083"/>
                    <a:pt x="482" y="2083"/>
                  </a:cubicBezTo>
                  <a:cubicBezTo>
                    <a:pt x="474" y="2090"/>
                    <a:pt x="467" y="2096"/>
                    <a:pt x="460" y="2103"/>
                  </a:cubicBezTo>
                  <a:close/>
                  <a:moveTo>
                    <a:pt x="495" y="2071"/>
                  </a:moveTo>
                  <a:cubicBezTo>
                    <a:pt x="435" y="1966"/>
                    <a:pt x="435" y="1966"/>
                    <a:pt x="435" y="1966"/>
                  </a:cubicBezTo>
                  <a:cubicBezTo>
                    <a:pt x="442" y="1958"/>
                    <a:pt x="449" y="1951"/>
                    <a:pt x="456" y="1944"/>
                  </a:cubicBezTo>
                  <a:cubicBezTo>
                    <a:pt x="497" y="2016"/>
                    <a:pt x="497" y="2016"/>
                    <a:pt x="497" y="2016"/>
                  </a:cubicBezTo>
                  <a:cubicBezTo>
                    <a:pt x="517" y="2051"/>
                    <a:pt x="517" y="2051"/>
                    <a:pt x="517" y="2051"/>
                  </a:cubicBezTo>
                  <a:cubicBezTo>
                    <a:pt x="509" y="2058"/>
                    <a:pt x="502" y="2064"/>
                    <a:pt x="495" y="2071"/>
                  </a:cubicBezTo>
                  <a:close/>
                  <a:moveTo>
                    <a:pt x="530" y="2039"/>
                  </a:moveTo>
                  <a:cubicBezTo>
                    <a:pt x="511" y="2005"/>
                    <a:pt x="511" y="2005"/>
                    <a:pt x="511" y="2005"/>
                  </a:cubicBezTo>
                  <a:cubicBezTo>
                    <a:pt x="469" y="1930"/>
                    <a:pt x="469" y="1930"/>
                    <a:pt x="469" y="1930"/>
                  </a:cubicBezTo>
                  <a:cubicBezTo>
                    <a:pt x="476" y="1923"/>
                    <a:pt x="482" y="1916"/>
                    <a:pt x="489" y="1908"/>
                  </a:cubicBezTo>
                  <a:cubicBezTo>
                    <a:pt x="552" y="2019"/>
                    <a:pt x="552" y="2019"/>
                    <a:pt x="552" y="2019"/>
                  </a:cubicBezTo>
                  <a:cubicBezTo>
                    <a:pt x="544" y="2025"/>
                    <a:pt x="537" y="2032"/>
                    <a:pt x="530" y="2039"/>
                  </a:cubicBezTo>
                  <a:close/>
                  <a:moveTo>
                    <a:pt x="565" y="2006"/>
                  </a:moveTo>
                  <a:cubicBezTo>
                    <a:pt x="502" y="1895"/>
                    <a:pt x="502" y="1895"/>
                    <a:pt x="502" y="1895"/>
                  </a:cubicBezTo>
                  <a:cubicBezTo>
                    <a:pt x="509" y="1888"/>
                    <a:pt x="516" y="1881"/>
                    <a:pt x="523" y="1874"/>
                  </a:cubicBezTo>
                  <a:cubicBezTo>
                    <a:pt x="575" y="1966"/>
                    <a:pt x="575" y="1966"/>
                    <a:pt x="575" y="1966"/>
                  </a:cubicBezTo>
                  <a:cubicBezTo>
                    <a:pt x="586" y="1986"/>
                    <a:pt x="586" y="1986"/>
                    <a:pt x="586" y="1986"/>
                  </a:cubicBezTo>
                  <a:cubicBezTo>
                    <a:pt x="579" y="1993"/>
                    <a:pt x="572" y="1999"/>
                    <a:pt x="565" y="2006"/>
                  </a:cubicBezTo>
                  <a:close/>
                  <a:moveTo>
                    <a:pt x="599" y="1973"/>
                  </a:moveTo>
                  <a:cubicBezTo>
                    <a:pt x="565" y="1912"/>
                    <a:pt x="565" y="1912"/>
                    <a:pt x="565" y="1912"/>
                  </a:cubicBezTo>
                  <a:cubicBezTo>
                    <a:pt x="536" y="1861"/>
                    <a:pt x="536" y="1861"/>
                    <a:pt x="536" y="1861"/>
                  </a:cubicBezTo>
                  <a:cubicBezTo>
                    <a:pt x="543" y="1853"/>
                    <a:pt x="550" y="1846"/>
                    <a:pt x="557" y="1840"/>
                  </a:cubicBezTo>
                  <a:cubicBezTo>
                    <a:pt x="621" y="1952"/>
                    <a:pt x="621" y="1952"/>
                    <a:pt x="621" y="1952"/>
                  </a:cubicBezTo>
                  <a:cubicBezTo>
                    <a:pt x="614" y="1959"/>
                    <a:pt x="607" y="1966"/>
                    <a:pt x="599" y="1973"/>
                  </a:cubicBezTo>
                  <a:close/>
                  <a:moveTo>
                    <a:pt x="634" y="1940"/>
                  </a:moveTo>
                  <a:cubicBezTo>
                    <a:pt x="570" y="1827"/>
                    <a:pt x="570" y="1827"/>
                    <a:pt x="570" y="1827"/>
                  </a:cubicBezTo>
                  <a:cubicBezTo>
                    <a:pt x="575" y="1822"/>
                    <a:pt x="581" y="1817"/>
                    <a:pt x="586" y="1812"/>
                  </a:cubicBezTo>
                  <a:cubicBezTo>
                    <a:pt x="586" y="1812"/>
                    <a:pt x="586" y="1812"/>
                    <a:pt x="586" y="1812"/>
                  </a:cubicBezTo>
                  <a:cubicBezTo>
                    <a:pt x="587" y="1811"/>
                    <a:pt x="587" y="1811"/>
                    <a:pt x="587" y="1811"/>
                  </a:cubicBezTo>
                  <a:cubicBezTo>
                    <a:pt x="587" y="1811"/>
                    <a:pt x="587" y="1810"/>
                    <a:pt x="587" y="1810"/>
                  </a:cubicBezTo>
                  <a:cubicBezTo>
                    <a:pt x="654" y="1918"/>
                    <a:pt x="654" y="1918"/>
                    <a:pt x="654" y="1918"/>
                  </a:cubicBezTo>
                  <a:cubicBezTo>
                    <a:pt x="648" y="1925"/>
                    <a:pt x="641" y="1932"/>
                    <a:pt x="634" y="1940"/>
                  </a:cubicBezTo>
                  <a:close/>
                  <a:moveTo>
                    <a:pt x="673" y="1899"/>
                  </a:moveTo>
                  <a:cubicBezTo>
                    <a:pt x="671" y="1901"/>
                    <a:pt x="669" y="1903"/>
                    <a:pt x="667" y="1905"/>
                  </a:cubicBezTo>
                  <a:cubicBezTo>
                    <a:pt x="630" y="1846"/>
                    <a:pt x="630" y="1846"/>
                    <a:pt x="630" y="1846"/>
                  </a:cubicBezTo>
                  <a:cubicBezTo>
                    <a:pt x="632" y="1848"/>
                    <a:pt x="633" y="1849"/>
                    <a:pt x="635" y="1850"/>
                  </a:cubicBezTo>
                  <a:cubicBezTo>
                    <a:pt x="638" y="1854"/>
                    <a:pt x="643" y="1859"/>
                    <a:pt x="649" y="1866"/>
                  </a:cubicBezTo>
                  <a:cubicBezTo>
                    <a:pt x="656" y="1874"/>
                    <a:pt x="665" y="1884"/>
                    <a:pt x="676" y="1895"/>
                  </a:cubicBezTo>
                  <a:cubicBezTo>
                    <a:pt x="676" y="1896"/>
                    <a:pt x="675" y="1897"/>
                    <a:pt x="673" y="1899"/>
                  </a:cubicBezTo>
                  <a:close/>
                  <a:moveTo>
                    <a:pt x="993" y="2058"/>
                  </a:moveTo>
                  <a:cubicBezTo>
                    <a:pt x="986" y="2074"/>
                    <a:pt x="971" y="2104"/>
                    <a:pt x="936" y="2161"/>
                  </a:cubicBezTo>
                  <a:cubicBezTo>
                    <a:pt x="866" y="2058"/>
                    <a:pt x="661" y="1851"/>
                    <a:pt x="652" y="1842"/>
                  </a:cubicBezTo>
                  <a:cubicBezTo>
                    <a:pt x="643" y="1833"/>
                    <a:pt x="436" y="1628"/>
                    <a:pt x="333" y="1558"/>
                  </a:cubicBezTo>
                  <a:cubicBezTo>
                    <a:pt x="390" y="1522"/>
                    <a:pt x="420" y="1507"/>
                    <a:pt x="435" y="1501"/>
                  </a:cubicBezTo>
                  <a:cubicBezTo>
                    <a:pt x="452" y="1539"/>
                    <a:pt x="510" y="1648"/>
                    <a:pt x="678" y="1816"/>
                  </a:cubicBezTo>
                  <a:cubicBezTo>
                    <a:pt x="845" y="1984"/>
                    <a:pt x="955" y="2042"/>
                    <a:pt x="993" y="2058"/>
                  </a:cubicBezTo>
                  <a:close/>
                  <a:moveTo>
                    <a:pt x="778" y="1876"/>
                  </a:moveTo>
                  <a:cubicBezTo>
                    <a:pt x="772" y="1871"/>
                    <a:pt x="767" y="1866"/>
                    <a:pt x="761" y="1862"/>
                  </a:cubicBezTo>
                  <a:cubicBezTo>
                    <a:pt x="752" y="1854"/>
                    <a:pt x="743" y="1847"/>
                    <a:pt x="735" y="1840"/>
                  </a:cubicBezTo>
                  <a:cubicBezTo>
                    <a:pt x="756" y="1818"/>
                    <a:pt x="756" y="1818"/>
                    <a:pt x="756" y="1818"/>
                  </a:cubicBezTo>
                  <a:cubicBezTo>
                    <a:pt x="759" y="1821"/>
                    <a:pt x="762" y="1824"/>
                    <a:pt x="765" y="1826"/>
                  </a:cubicBezTo>
                  <a:cubicBezTo>
                    <a:pt x="771" y="1832"/>
                    <a:pt x="771" y="1832"/>
                    <a:pt x="771" y="1832"/>
                  </a:cubicBezTo>
                  <a:cubicBezTo>
                    <a:pt x="779" y="1840"/>
                    <a:pt x="788" y="1848"/>
                    <a:pt x="798" y="1857"/>
                  </a:cubicBezTo>
                  <a:cubicBezTo>
                    <a:pt x="790" y="1864"/>
                    <a:pt x="784" y="1871"/>
                    <a:pt x="778" y="1876"/>
                  </a:cubicBezTo>
                  <a:close/>
                  <a:moveTo>
                    <a:pt x="1670" y="1833"/>
                  </a:moveTo>
                  <a:cubicBezTo>
                    <a:pt x="1669" y="1834"/>
                    <a:pt x="1668" y="1835"/>
                    <a:pt x="1667" y="1837"/>
                  </a:cubicBezTo>
                  <a:cubicBezTo>
                    <a:pt x="1581" y="1915"/>
                    <a:pt x="1456" y="2013"/>
                    <a:pt x="1246" y="2035"/>
                  </a:cubicBezTo>
                  <a:cubicBezTo>
                    <a:pt x="1036" y="2013"/>
                    <a:pt x="911" y="1915"/>
                    <a:pt x="825" y="1837"/>
                  </a:cubicBezTo>
                  <a:cubicBezTo>
                    <a:pt x="824" y="1836"/>
                    <a:pt x="823" y="1834"/>
                    <a:pt x="821" y="1833"/>
                  </a:cubicBezTo>
                  <a:cubicBezTo>
                    <a:pt x="809" y="1822"/>
                    <a:pt x="798" y="1812"/>
                    <a:pt x="788" y="1802"/>
                  </a:cubicBezTo>
                  <a:cubicBezTo>
                    <a:pt x="785" y="1799"/>
                    <a:pt x="782" y="1797"/>
                    <a:pt x="779" y="1794"/>
                  </a:cubicBezTo>
                  <a:cubicBezTo>
                    <a:pt x="776" y="1791"/>
                    <a:pt x="773" y="1787"/>
                    <a:pt x="770" y="1784"/>
                  </a:cubicBezTo>
                  <a:cubicBezTo>
                    <a:pt x="756" y="1767"/>
                    <a:pt x="740" y="1747"/>
                    <a:pt x="725" y="1724"/>
                  </a:cubicBezTo>
                  <a:cubicBezTo>
                    <a:pt x="719" y="1716"/>
                    <a:pt x="713" y="1707"/>
                    <a:pt x="708" y="1698"/>
                  </a:cubicBezTo>
                  <a:cubicBezTo>
                    <a:pt x="697" y="1681"/>
                    <a:pt x="686" y="1662"/>
                    <a:pt x="676" y="1643"/>
                  </a:cubicBezTo>
                  <a:cubicBezTo>
                    <a:pt x="676" y="1643"/>
                    <a:pt x="676" y="1643"/>
                    <a:pt x="676" y="1643"/>
                  </a:cubicBezTo>
                  <a:cubicBezTo>
                    <a:pt x="676" y="1642"/>
                    <a:pt x="675" y="1641"/>
                    <a:pt x="675" y="1641"/>
                  </a:cubicBezTo>
                  <a:cubicBezTo>
                    <a:pt x="666" y="1623"/>
                    <a:pt x="657" y="1605"/>
                    <a:pt x="648" y="1586"/>
                  </a:cubicBezTo>
                  <a:cubicBezTo>
                    <a:pt x="612" y="1504"/>
                    <a:pt x="592" y="1416"/>
                    <a:pt x="589" y="1356"/>
                  </a:cubicBezTo>
                  <a:cubicBezTo>
                    <a:pt x="589" y="694"/>
                    <a:pt x="589" y="694"/>
                    <a:pt x="589" y="694"/>
                  </a:cubicBezTo>
                  <a:cubicBezTo>
                    <a:pt x="589" y="668"/>
                    <a:pt x="589" y="668"/>
                    <a:pt x="589" y="668"/>
                  </a:cubicBezTo>
                  <a:cubicBezTo>
                    <a:pt x="589" y="620"/>
                    <a:pt x="589" y="620"/>
                    <a:pt x="589" y="620"/>
                  </a:cubicBezTo>
                  <a:cubicBezTo>
                    <a:pt x="589" y="618"/>
                    <a:pt x="589" y="618"/>
                    <a:pt x="589" y="618"/>
                  </a:cubicBezTo>
                  <a:cubicBezTo>
                    <a:pt x="589" y="538"/>
                    <a:pt x="589" y="538"/>
                    <a:pt x="589" y="538"/>
                  </a:cubicBezTo>
                  <a:cubicBezTo>
                    <a:pt x="589" y="534"/>
                    <a:pt x="589" y="534"/>
                    <a:pt x="589" y="534"/>
                  </a:cubicBezTo>
                  <a:cubicBezTo>
                    <a:pt x="589" y="493"/>
                    <a:pt x="589" y="493"/>
                    <a:pt x="589" y="493"/>
                  </a:cubicBezTo>
                  <a:cubicBezTo>
                    <a:pt x="589" y="469"/>
                    <a:pt x="589" y="469"/>
                    <a:pt x="589" y="469"/>
                  </a:cubicBezTo>
                  <a:cubicBezTo>
                    <a:pt x="589" y="425"/>
                    <a:pt x="589" y="425"/>
                    <a:pt x="589" y="425"/>
                  </a:cubicBezTo>
                  <a:cubicBezTo>
                    <a:pt x="1903" y="425"/>
                    <a:pt x="1903" y="425"/>
                    <a:pt x="1903" y="425"/>
                  </a:cubicBezTo>
                  <a:cubicBezTo>
                    <a:pt x="1903" y="469"/>
                    <a:pt x="1903" y="469"/>
                    <a:pt x="1903" y="469"/>
                  </a:cubicBezTo>
                  <a:cubicBezTo>
                    <a:pt x="1903" y="493"/>
                    <a:pt x="1903" y="493"/>
                    <a:pt x="1903" y="493"/>
                  </a:cubicBezTo>
                  <a:cubicBezTo>
                    <a:pt x="1903" y="534"/>
                    <a:pt x="1903" y="534"/>
                    <a:pt x="1903" y="534"/>
                  </a:cubicBezTo>
                  <a:cubicBezTo>
                    <a:pt x="1903" y="538"/>
                    <a:pt x="1903" y="538"/>
                    <a:pt x="1903" y="538"/>
                  </a:cubicBezTo>
                  <a:cubicBezTo>
                    <a:pt x="1903" y="618"/>
                    <a:pt x="1903" y="618"/>
                    <a:pt x="1903" y="618"/>
                  </a:cubicBezTo>
                  <a:cubicBezTo>
                    <a:pt x="1903" y="620"/>
                    <a:pt x="1903" y="620"/>
                    <a:pt x="1903" y="620"/>
                  </a:cubicBezTo>
                  <a:cubicBezTo>
                    <a:pt x="1903" y="668"/>
                    <a:pt x="1903" y="668"/>
                    <a:pt x="1903" y="668"/>
                  </a:cubicBezTo>
                  <a:cubicBezTo>
                    <a:pt x="1903" y="694"/>
                    <a:pt x="1903" y="694"/>
                    <a:pt x="1903" y="694"/>
                  </a:cubicBezTo>
                  <a:cubicBezTo>
                    <a:pt x="1903" y="1356"/>
                    <a:pt x="1903" y="1356"/>
                    <a:pt x="1903" y="1356"/>
                  </a:cubicBezTo>
                  <a:cubicBezTo>
                    <a:pt x="1900" y="1416"/>
                    <a:pt x="1880" y="1504"/>
                    <a:pt x="1844" y="1586"/>
                  </a:cubicBezTo>
                  <a:cubicBezTo>
                    <a:pt x="1835" y="1605"/>
                    <a:pt x="1826" y="1623"/>
                    <a:pt x="1817" y="1641"/>
                  </a:cubicBezTo>
                  <a:cubicBezTo>
                    <a:pt x="1817" y="1641"/>
                    <a:pt x="1816" y="1642"/>
                    <a:pt x="1816" y="1643"/>
                  </a:cubicBezTo>
                  <a:cubicBezTo>
                    <a:pt x="1816" y="1643"/>
                    <a:pt x="1816" y="1643"/>
                    <a:pt x="1816" y="1643"/>
                  </a:cubicBezTo>
                  <a:cubicBezTo>
                    <a:pt x="1806" y="1662"/>
                    <a:pt x="1795" y="1681"/>
                    <a:pt x="1784" y="1698"/>
                  </a:cubicBezTo>
                  <a:cubicBezTo>
                    <a:pt x="1778" y="1707"/>
                    <a:pt x="1773" y="1716"/>
                    <a:pt x="1767" y="1724"/>
                  </a:cubicBezTo>
                  <a:cubicBezTo>
                    <a:pt x="1752" y="1747"/>
                    <a:pt x="1736" y="1767"/>
                    <a:pt x="1722" y="1783"/>
                  </a:cubicBezTo>
                  <a:cubicBezTo>
                    <a:pt x="1719" y="1787"/>
                    <a:pt x="1715" y="1790"/>
                    <a:pt x="1712" y="1794"/>
                  </a:cubicBezTo>
                  <a:cubicBezTo>
                    <a:pt x="1710" y="1796"/>
                    <a:pt x="1707" y="1799"/>
                    <a:pt x="1704" y="1802"/>
                  </a:cubicBezTo>
                  <a:cubicBezTo>
                    <a:pt x="1694" y="1812"/>
                    <a:pt x="1682" y="1822"/>
                    <a:pt x="1670" y="1833"/>
                  </a:cubicBezTo>
                  <a:close/>
                  <a:moveTo>
                    <a:pt x="1694" y="1857"/>
                  </a:moveTo>
                  <a:cubicBezTo>
                    <a:pt x="1703" y="1848"/>
                    <a:pt x="1712" y="1840"/>
                    <a:pt x="1721" y="1832"/>
                  </a:cubicBezTo>
                  <a:cubicBezTo>
                    <a:pt x="1727" y="1826"/>
                    <a:pt x="1727" y="1826"/>
                    <a:pt x="1727" y="1826"/>
                  </a:cubicBezTo>
                  <a:cubicBezTo>
                    <a:pt x="1730" y="1823"/>
                    <a:pt x="1733" y="1821"/>
                    <a:pt x="1735" y="1818"/>
                  </a:cubicBezTo>
                  <a:cubicBezTo>
                    <a:pt x="1757" y="1840"/>
                    <a:pt x="1757" y="1840"/>
                    <a:pt x="1757" y="1840"/>
                  </a:cubicBezTo>
                  <a:cubicBezTo>
                    <a:pt x="1749" y="1847"/>
                    <a:pt x="1740" y="1854"/>
                    <a:pt x="1731" y="1862"/>
                  </a:cubicBezTo>
                  <a:cubicBezTo>
                    <a:pt x="1725" y="1866"/>
                    <a:pt x="1720" y="1871"/>
                    <a:pt x="1714" y="1876"/>
                  </a:cubicBezTo>
                  <a:cubicBezTo>
                    <a:pt x="1708" y="1871"/>
                    <a:pt x="1702" y="1864"/>
                    <a:pt x="1694" y="1857"/>
                  </a:cubicBezTo>
                  <a:close/>
                  <a:moveTo>
                    <a:pt x="1556" y="2161"/>
                  </a:moveTo>
                  <a:cubicBezTo>
                    <a:pt x="1521" y="2104"/>
                    <a:pt x="1506" y="2074"/>
                    <a:pt x="1499" y="2058"/>
                  </a:cubicBezTo>
                  <a:cubicBezTo>
                    <a:pt x="1537" y="2042"/>
                    <a:pt x="1647" y="1984"/>
                    <a:pt x="1814" y="1816"/>
                  </a:cubicBezTo>
                  <a:cubicBezTo>
                    <a:pt x="1982" y="1648"/>
                    <a:pt x="2040" y="1539"/>
                    <a:pt x="2057" y="1501"/>
                  </a:cubicBezTo>
                  <a:cubicBezTo>
                    <a:pt x="2072" y="1507"/>
                    <a:pt x="2102" y="1522"/>
                    <a:pt x="2159" y="1558"/>
                  </a:cubicBezTo>
                  <a:cubicBezTo>
                    <a:pt x="2056" y="1628"/>
                    <a:pt x="1849" y="1833"/>
                    <a:pt x="1840" y="1842"/>
                  </a:cubicBezTo>
                  <a:cubicBezTo>
                    <a:pt x="1831" y="1851"/>
                    <a:pt x="1626" y="2058"/>
                    <a:pt x="1556" y="2161"/>
                  </a:cubicBezTo>
                  <a:close/>
                  <a:moveTo>
                    <a:pt x="1818" y="1898"/>
                  </a:moveTo>
                  <a:cubicBezTo>
                    <a:pt x="1817" y="1897"/>
                    <a:pt x="1816" y="1896"/>
                    <a:pt x="1816" y="1895"/>
                  </a:cubicBezTo>
                  <a:cubicBezTo>
                    <a:pt x="1827" y="1884"/>
                    <a:pt x="1836" y="1874"/>
                    <a:pt x="1843" y="1866"/>
                  </a:cubicBezTo>
                  <a:cubicBezTo>
                    <a:pt x="1849" y="1860"/>
                    <a:pt x="1854" y="1854"/>
                    <a:pt x="1858" y="1850"/>
                  </a:cubicBezTo>
                  <a:cubicBezTo>
                    <a:pt x="1859" y="1849"/>
                    <a:pt x="1860" y="1848"/>
                    <a:pt x="1862" y="1847"/>
                  </a:cubicBezTo>
                  <a:cubicBezTo>
                    <a:pt x="1825" y="1905"/>
                    <a:pt x="1825" y="1905"/>
                    <a:pt x="1825" y="1905"/>
                  </a:cubicBezTo>
                  <a:cubicBezTo>
                    <a:pt x="1823" y="1903"/>
                    <a:pt x="1820" y="1901"/>
                    <a:pt x="1818" y="1898"/>
                  </a:cubicBezTo>
                  <a:close/>
                  <a:moveTo>
                    <a:pt x="1838" y="1918"/>
                  </a:moveTo>
                  <a:cubicBezTo>
                    <a:pt x="1905" y="1810"/>
                    <a:pt x="1905" y="1810"/>
                    <a:pt x="1905" y="1810"/>
                  </a:cubicBezTo>
                  <a:cubicBezTo>
                    <a:pt x="1905" y="1810"/>
                    <a:pt x="1905" y="1811"/>
                    <a:pt x="1905" y="1811"/>
                  </a:cubicBezTo>
                  <a:cubicBezTo>
                    <a:pt x="1906" y="1812"/>
                    <a:pt x="1906" y="1812"/>
                    <a:pt x="1906" y="1812"/>
                  </a:cubicBezTo>
                  <a:cubicBezTo>
                    <a:pt x="1906" y="1812"/>
                    <a:pt x="1906" y="1812"/>
                    <a:pt x="1906" y="1812"/>
                  </a:cubicBezTo>
                  <a:cubicBezTo>
                    <a:pt x="1911" y="1817"/>
                    <a:pt x="1917" y="1822"/>
                    <a:pt x="1922" y="1827"/>
                  </a:cubicBezTo>
                  <a:cubicBezTo>
                    <a:pt x="1858" y="1940"/>
                    <a:pt x="1858" y="1940"/>
                    <a:pt x="1858" y="1940"/>
                  </a:cubicBezTo>
                  <a:cubicBezTo>
                    <a:pt x="1851" y="1932"/>
                    <a:pt x="1844" y="1925"/>
                    <a:pt x="1838" y="1918"/>
                  </a:cubicBezTo>
                  <a:close/>
                  <a:moveTo>
                    <a:pt x="1871" y="1952"/>
                  </a:moveTo>
                  <a:cubicBezTo>
                    <a:pt x="1935" y="1840"/>
                    <a:pt x="1935" y="1840"/>
                    <a:pt x="1935" y="1840"/>
                  </a:cubicBezTo>
                  <a:cubicBezTo>
                    <a:pt x="1942" y="1846"/>
                    <a:pt x="1949" y="1853"/>
                    <a:pt x="1956" y="1861"/>
                  </a:cubicBezTo>
                  <a:cubicBezTo>
                    <a:pt x="1927" y="1912"/>
                    <a:pt x="1927" y="1912"/>
                    <a:pt x="1927" y="1912"/>
                  </a:cubicBezTo>
                  <a:cubicBezTo>
                    <a:pt x="1893" y="1973"/>
                    <a:pt x="1893" y="1973"/>
                    <a:pt x="1893" y="1973"/>
                  </a:cubicBezTo>
                  <a:cubicBezTo>
                    <a:pt x="1885" y="1966"/>
                    <a:pt x="1878" y="1959"/>
                    <a:pt x="1871" y="1952"/>
                  </a:cubicBezTo>
                  <a:close/>
                  <a:moveTo>
                    <a:pt x="1906" y="1986"/>
                  </a:moveTo>
                  <a:cubicBezTo>
                    <a:pt x="1969" y="1874"/>
                    <a:pt x="1969" y="1874"/>
                    <a:pt x="1969" y="1874"/>
                  </a:cubicBezTo>
                  <a:cubicBezTo>
                    <a:pt x="1976" y="1881"/>
                    <a:pt x="1983" y="1888"/>
                    <a:pt x="1990" y="1895"/>
                  </a:cubicBezTo>
                  <a:cubicBezTo>
                    <a:pt x="1927" y="2006"/>
                    <a:pt x="1927" y="2006"/>
                    <a:pt x="1927" y="2006"/>
                  </a:cubicBezTo>
                  <a:cubicBezTo>
                    <a:pt x="1920" y="1999"/>
                    <a:pt x="1913" y="1993"/>
                    <a:pt x="1906" y="1986"/>
                  </a:cubicBezTo>
                  <a:close/>
                  <a:moveTo>
                    <a:pt x="1940" y="2019"/>
                  </a:moveTo>
                  <a:cubicBezTo>
                    <a:pt x="2003" y="1908"/>
                    <a:pt x="2003" y="1908"/>
                    <a:pt x="2003" y="1908"/>
                  </a:cubicBezTo>
                  <a:cubicBezTo>
                    <a:pt x="2010" y="1916"/>
                    <a:pt x="2016" y="1923"/>
                    <a:pt x="2023" y="1930"/>
                  </a:cubicBezTo>
                  <a:cubicBezTo>
                    <a:pt x="1962" y="2039"/>
                    <a:pt x="1962" y="2039"/>
                    <a:pt x="1962" y="2039"/>
                  </a:cubicBezTo>
                  <a:cubicBezTo>
                    <a:pt x="1955" y="2032"/>
                    <a:pt x="1948" y="2025"/>
                    <a:pt x="1940" y="2019"/>
                  </a:cubicBezTo>
                  <a:close/>
                  <a:moveTo>
                    <a:pt x="1975" y="2051"/>
                  </a:moveTo>
                  <a:cubicBezTo>
                    <a:pt x="2016" y="1979"/>
                    <a:pt x="2016" y="1979"/>
                    <a:pt x="2016" y="1979"/>
                  </a:cubicBezTo>
                  <a:cubicBezTo>
                    <a:pt x="2036" y="1944"/>
                    <a:pt x="2036" y="1944"/>
                    <a:pt x="2036" y="1944"/>
                  </a:cubicBezTo>
                  <a:cubicBezTo>
                    <a:pt x="2043" y="1951"/>
                    <a:pt x="2050" y="1958"/>
                    <a:pt x="2057" y="1966"/>
                  </a:cubicBezTo>
                  <a:cubicBezTo>
                    <a:pt x="1997" y="2071"/>
                    <a:pt x="1997" y="2071"/>
                    <a:pt x="1997" y="2071"/>
                  </a:cubicBezTo>
                  <a:cubicBezTo>
                    <a:pt x="1990" y="2064"/>
                    <a:pt x="1983" y="2058"/>
                    <a:pt x="1975" y="2051"/>
                  </a:cubicBezTo>
                  <a:close/>
                  <a:moveTo>
                    <a:pt x="2010" y="2083"/>
                  </a:moveTo>
                  <a:cubicBezTo>
                    <a:pt x="2069" y="1979"/>
                    <a:pt x="2069" y="1979"/>
                    <a:pt x="2069" y="1979"/>
                  </a:cubicBezTo>
                  <a:cubicBezTo>
                    <a:pt x="2076" y="1987"/>
                    <a:pt x="2083" y="1994"/>
                    <a:pt x="2089" y="2002"/>
                  </a:cubicBezTo>
                  <a:cubicBezTo>
                    <a:pt x="2032" y="2103"/>
                    <a:pt x="2032" y="2103"/>
                    <a:pt x="2032" y="2103"/>
                  </a:cubicBezTo>
                  <a:cubicBezTo>
                    <a:pt x="2025" y="2096"/>
                    <a:pt x="2018" y="2090"/>
                    <a:pt x="2010" y="2083"/>
                  </a:cubicBezTo>
                  <a:close/>
                  <a:moveTo>
                    <a:pt x="2046" y="2115"/>
                  </a:moveTo>
                  <a:cubicBezTo>
                    <a:pt x="2102" y="2016"/>
                    <a:pt x="2102" y="2016"/>
                    <a:pt x="2102" y="2016"/>
                  </a:cubicBezTo>
                  <a:cubicBezTo>
                    <a:pt x="2109" y="2023"/>
                    <a:pt x="2115" y="2031"/>
                    <a:pt x="2122" y="2038"/>
                  </a:cubicBezTo>
                  <a:cubicBezTo>
                    <a:pt x="2068" y="2135"/>
                    <a:pt x="2068" y="2135"/>
                    <a:pt x="2068" y="2135"/>
                  </a:cubicBezTo>
                  <a:cubicBezTo>
                    <a:pt x="2060" y="2128"/>
                    <a:pt x="2053" y="2122"/>
                    <a:pt x="2046" y="2115"/>
                  </a:cubicBezTo>
                  <a:close/>
                  <a:moveTo>
                    <a:pt x="2081" y="2147"/>
                  </a:moveTo>
                  <a:cubicBezTo>
                    <a:pt x="2135" y="2052"/>
                    <a:pt x="2135" y="2052"/>
                    <a:pt x="2135" y="2052"/>
                  </a:cubicBezTo>
                  <a:cubicBezTo>
                    <a:pt x="2141" y="2060"/>
                    <a:pt x="2148" y="2067"/>
                    <a:pt x="2155" y="2075"/>
                  </a:cubicBezTo>
                  <a:cubicBezTo>
                    <a:pt x="2149" y="2085"/>
                    <a:pt x="2149" y="2085"/>
                    <a:pt x="2149" y="2085"/>
                  </a:cubicBezTo>
                  <a:cubicBezTo>
                    <a:pt x="2103" y="2166"/>
                    <a:pt x="2103" y="2166"/>
                    <a:pt x="2103" y="2166"/>
                  </a:cubicBezTo>
                  <a:cubicBezTo>
                    <a:pt x="2096" y="2160"/>
                    <a:pt x="2089" y="2153"/>
                    <a:pt x="2081" y="2147"/>
                  </a:cubicBezTo>
                  <a:close/>
                  <a:moveTo>
                    <a:pt x="2117" y="2178"/>
                  </a:moveTo>
                  <a:cubicBezTo>
                    <a:pt x="2167" y="2089"/>
                    <a:pt x="2167" y="2089"/>
                    <a:pt x="2167" y="2089"/>
                  </a:cubicBezTo>
                  <a:cubicBezTo>
                    <a:pt x="2174" y="2096"/>
                    <a:pt x="2181" y="2104"/>
                    <a:pt x="2187" y="2111"/>
                  </a:cubicBezTo>
                  <a:cubicBezTo>
                    <a:pt x="2139" y="2197"/>
                    <a:pt x="2139" y="2197"/>
                    <a:pt x="2139" y="2197"/>
                  </a:cubicBezTo>
                  <a:cubicBezTo>
                    <a:pt x="2132" y="2191"/>
                    <a:pt x="2124" y="2185"/>
                    <a:pt x="2117" y="2178"/>
                  </a:cubicBezTo>
                  <a:close/>
                  <a:moveTo>
                    <a:pt x="2152" y="2209"/>
                  </a:moveTo>
                  <a:cubicBezTo>
                    <a:pt x="2199" y="2126"/>
                    <a:pt x="2199" y="2126"/>
                    <a:pt x="2199" y="2126"/>
                  </a:cubicBezTo>
                  <a:cubicBezTo>
                    <a:pt x="2206" y="2134"/>
                    <a:pt x="2213" y="2141"/>
                    <a:pt x="2219" y="2149"/>
                  </a:cubicBezTo>
                  <a:cubicBezTo>
                    <a:pt x="2174" y="2228"/>
                    <a:pt x="2174" y="2228"/>
                    <a:pt x="2174" y="2228"/>
                  </a:cubicBezTo>
                  <a:cubicBezTo>
                    <a:pt x="2168" y="2222"/>
                    <a:pt x="2160" y="2216"/>
                    <a:pt x="2152" y="2209"/>
                  </a:cubicBezTo>
                  <a:close/>
                  <a:moveTo>
                    <a:pt x="2188" y="2240"/>
                  </a:moveTo>
                  <a:cubicBezTo>
                    <a:pt x="2194" y="2229"/>
                    <a:pt x="2194" y="2229"/>
                    <a:pt x="2194" y="2229"/>
                  </a:cubicBezTo>
                  <a:cubicBezTo>
                    <a:pt x="2232" y="2163"/>
                    <a:pt x="2232" y="2163"/>
                    <a:pt x="2232" y="2163"/>
                  </a:cubicBezTo>
                  <a:cubicBezTo>
                    <a:pt x="2239" y="2171"/>
                    <a:pt x="2246" y="2179"/>
                    <a:pt x="2252" y="2186"/>
                  </a:cubicBezTo>
                  <a:cubicBezTo>
                    <a:pt x="2210" y="2259"/>
                    <a:pt x="2210" y="2259"/>
                    <a:pt x="2210" y="2259"/>
                  </a:cubicBezTo>
                  <a:cubicBezTo>
                    <a:pt x="2205" y="2254"/>
                    <a:pt x="2197" y="2248"/>
                    <a:pt x="2188" y="2240"/>
                  </a:cubicBezTo>
                  <a:close/>
                  <a:moveTo>
                    <a:pt x="2334" y="2459"/>
                  </a:moveTo>
                  <a:cubicBezTo>
                    <a:pt x="2301" y="2459"/>
                    <a:pt x="2270" y="2446"/>
                    <a:pt x="2247" y="2423"/>
                  </a:cubicBezTo>
                  <a:cubicBezTo>
                    <a:pt x="2211" y="2387"/>
                    <a:pt x="2201" y="2334"/>
                    <a:pt x="2220" y="2288"/>
                  </a:cubicBezTo>
                  <a:cubicBezTo>
                    <a:pt x="2222" y="2287"/>
                    <a:pt x="2223" y="2286"/>
                    <a:pt x="2224" y="2285"/>
                  </a:cubicBezTo>
                  <a:cubicBezTo>
                    <a:pt x="2288" y="2222"/>
                    <a:pt x="2288" y="2222"/>
                    <a:pt x="2288" y="2222"/>
                  </a:cubicBezTo>
                  <a:cubicBezTo>
                    <a:pt x="2302" y="2216"/>
                    <a:pt x="2318" y="2213"/>
                    <a:pt x="2334" y="2213"/>
                  </a:cubicBezTo>
                  <a:cubicBezTo>
                    <a:pt x="2366" y="2213"/>
                    <a:pt x="2397" y="2225"/>
                    <a:pt x="2421" y="2249"/>
                  </a:cubicBezTo>
                  <a:cubicBezTo>
                    <a:pt x="2461" y="2289"/>
                    <a:pt x="2468" y="2351"/>
                    <a:pt x="2439" y="2399"/>
                  </a:cubicBezTo>
                  <a:cubicBezTo>
                    <a:pt x="2434" y="2407"/>
                    <a:pt x="2428" y="2415"/>
                    <a:pt x="2421" y="2423"/>
                  </a:cubicBezTo>
                  <a:cubicBezTo>
                    <a:pt x="2414" y="2429"/>
                    <a:pt x="2406" y="2435"/>
                    <a:pt x="2398" y="2440"/>
                  </a:cubicBezTo>
                  <a:cubicBezTo>
                    <a:pt x="2379" y="2452"/>
                    <a:pt x="2356" y="2459"/>
                    <a:pt x="2334" y="2459"/>
                  </a:cubicBezTo>
                  <a:close/>
                  <a:moveTo>
                    <a:pt x="2410" y="2453"/>
                  </a:moveTo>
                  <a:cubicBezTo>
                    <a:pt x="2417" y="2448"/>
                    <a:pt x="2424" y="2443"/>
                    <a:pt x="2431" y="2437"/>
                  </a:cubicBezTo>
                  <a:cubicBezTo>
                    <a:pt x="2424" y="2443"/>
                    <a:pt x="2417" y="2448"/>
                    <a:pt x="2410" y="245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137;p1">
              <a:extLst>
                <a:ext uri="{FF2B5EF4-FFF2-40B4-BE49-F238E27FC236}">
                  <a16:creationId xmlns:a16="http://schemas.microsoft.com/office/drawing/2014/main" id="{D0EB6AC8-8A3C-4D5B-8969-DE0A9D4CD0FB}"/>
                </a:ext>
              </a:extLst>
            </p:cNvPr>
            <p:cNvSpPr/>
            <p:nvPr/>
          </p:nvSpPr>
          <p:spPr>
            <a:xfrm>
              <a:off x="14044613" y="2930525"/>
              <a:ext cx="4763" cy="7938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5" y="0"/>
                  </a:moveTo>
                  <a:cubicBezTo>
                    <a:pt x="4" y="1"/>
                    <a:pt x="1" y="6"/>
                    <a:pt x="1" y="8"/>
                  </a:cubicBezTo>
                  <a:cubicBezTo>
                    <a:pt x="1" y="9"/>
                    <a:pt x="0" y="13"/>
                    <a:pt x="2" y="13"/>
                  </a:cubicBezTo>
                  <a:cubicBezTo>
                    <a:pt x="5" y="14"/>
                    <a:pt x="5" y="9"/>
                    <a:pt x="6" y="7"/>
                  </a:cubicBezTo>
                  <a:cubicBezTo>
                    <a:pt x="7" y="6"/>
                    <a:pt x="8" y="4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138;p1">
              <a:extLst>
                <a:ext uri="{FF2B5EF4-FFF2-40B4-BE49-F238E27FC236}">
                  <a16:creationId xmlns:a16="http://schemas.microsoft.com/office/drawing/2014/main" id="{932D0DEA-3984-47C0-8DFC-1571D8803E5E}"/>
                </a:ext>
              </a:extLst>
            </p:cNvPr>
            <p:cNvSpPr/>
            <p:nvPr/>
          </p:nvSpPr>
          <p:spPr>
            <a:xfrm>
              <a:off x="14050963" y="2928938"/>
              <a:ext cx="4763" cy="7938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2" y="8"/>
                  </a:moveTo>
                  <a:cubicBezTo>
                    <a:pt x="2" y="8"/>
                    <a:pt x="2" y="10"/>
                    <a:pt x="2" y="10"/>
                  </a:cubicBezTo>
                  <a:cubicBezTo>
                    <a:pt x="1" y="11"/>
                    <a:pt x="0" y="15"/>
                    <a:pt x="2" y="15"/>
                  </a:cubicBezTo>
                  <a:cubicBezTo>
                    <a:pt x="4" y="15"/>
                    <a:pt x="4" y="15"/>
                    <a:pt x="5" y="13"/>
                  </a:cubicBezTo>
                  <a:cubicBezTo>
                    <a:pt x="6" y="11"/>
                    <a:pt x="8" y="1"/>
                    <a:pt x="5" y="0"/>
                  </a:cubicBezTo>
                  <a:cubicBezTo>
                    <a:pt x="2" y="0"/>
                    <a:pt x="2" y="4"/>
                    <a:pt x="2" y="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139;p1">
              <a:extLst>
                <a:ext uri="{FF2B5EF4-FFF2-40B4-BE49-F238E27FC236}">
                  <a16:creationId xmlns:a16="http://schemas.microsoft.com/office/drawing/2014/main" id="{BF6B9BD7-4E0C-42D5-9BF1-27120C8A6DBC}"/>
                </a:ext>
              </a:extLst>
            </p:cNvPr>
            <p:cNvSpPr/>
            <p:nvPr/>
          </p:nvSpPr>
          <p:spPr>
            <a:xfrm>
              <a:off x="14055725" y="2908300"/>
              <a:ext cx="33338" cy="26988"/>
            </a:xfrm>
            <a:custGeom>
              <a:avLst/>
              <a:gdLst/>
              <a:ahLst/>
              <a:cxnLst/>
              <a:rect l="l" t="t" r="r" b="b"/>
              <a:pathLst>
                <a:path w="58" h="49" extrusionOk="0">
                  <a:moveTo>
                    <a:pt x="55" y="11"/>
                  </a:moveTo>
                  <a:cubicBezTo>
                    <a:pt x="55" y="11"/>
                    <a:pt x="58" y="9"/>
                    <a:pt x="57" y="7"/>
                  </a:cubicBezTo>
                  <a:cubicBezTo>
                    <a:pt x="54" y="0"/>
                    <a:pt x="44" y="8"/>
                    <a:pt x="47" y="17"/>
                  </a:cubicBezTo>
                  <a:cubicBezTo>
                    <a:pt x="47" y="20"/>
                    <a:pt x="51" y="31"/>
                    <a:pt x="49" y="34"/>
                  </a:cubicBezTo>
                  <a:cubicBezTo>
                    <a:pt x="48" y="39"/>
                    <a:pt x="37" y="40"/>
                    <a:pt x="34" y="37"/>
                  </a:cubicBezTo>
                  <a:cubicBezTo>
                    <a:pt x="31" y="34"/>
                    <a:pt x="28" y="34"/>
                    <a:pt x="21" y="34"/>
                  </a:cubicBezTo>
                  <a:cubicBezTo>
                    <a:pt x="16" y="34"/>
                    <a:pt x="12" y="34"/>
                    <a:pt x="8" y="37"/>
                  </a:cubicBezTo>
                  <a:cubicBezTo>
                    <a:pt x="7" y="37"/>
                    <a:pt x="0" y="42"/>
                    <a:pt x="2" y="45"/>
                  </a:cubicBezTo>
                  <a:cubicBezTo>
                    <a:pt x="4" y="46"/>
                    <a:pt x="18" y="39"/>
                    <a:pt x="24" y="42"/>
                  </a:cubicBezTo>
                  <a:cubicBezTo>
                    <a:pt x="26" y="42"/>
                    <a:pt x="30" y="45"/>
                    <a:pt x="32" y="46"/>
                  </a:cubicBezTo>
                  <a:cubicBezTo>
                    <a:pt x="42" y="49"/>
                    <a:pt x="58" y="45"/>
                    <a:pt x="58" y="31"/>
                  </a:cubicBezTo>
                  <a:cubicBezTo>
                    <a:pt x="58" y="26"/>
                    <a:pt x="57" y="21"/>
                    <a:pt x="56" y="17"/>
                  </a:cubicBezTo>
                  <a:cubicBezTo>
                    <a:pt x="56" y="16"/>
                    <a:pt x="55" y="14"/>
                    <a:pt x="55" y="1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140;p1">
              <a:extLst>
                <a:ext uri="{FF2B5EF4-FFF2-40B4-BE49-F238E27FC236}">
                  <a16:creationId xmlns:a16="http://schemas.microsoft.com/office/drawing/2014/main" id="{4FA3107C-F1B4-43A8-8F6C-2231F826B880}"/>
                </a:ext>
              </a:extLst>
            </p:cNvPr>
            <p:cNvSpPr/>
            <p:nvPr/>
          </p:nvSpPr>
          <p:spPr>
            <a:xfrm>
              <a:off x="14038263" y="2527300"/>
              <a:ext cx="25400" cy="30163"/>
            </a:xfrm>
            <a:custGeom>
              <a:avLst/>
              <a:gdLst/>
              <a:ahLst/>
              <a:cxnLst/>
              <a:rect l="l" t="t" r="r" b="b"/>
              <a:pathLst>
                <a:path w="45" h="54" extrusionOk="0">
                  <a:moveTo>
                    <a:pt x="33" y="49"/>
                  </a:moveTo>
                  <a:cubicBezTo>
                    <a:pt x="35" y="49"/>
                    <a:pt x="37" y="51"/>
                    <a:pt x="38" y="52"/>
                  </a:cubicBezTo>
                  <a:cubicBezTo>
                    <a:pt x="41" y="54"/>
                    <a:pt x="44" y="54"/>
                    <a:pt x="45" y="49"/>
                  </a:cubicBezTo>
                  <a:cubicBezTo>
                    <a:pt x="45" y="43"/>
                    <a:pt x="36" y="39"/>
                    <a:pt x="30" y="41"/>
                  </a:cubicBezTo>
                  <a:cubicBezTo>
                    <a:pt x="18" y="47"/>
                    <a:pt x="7" y="36"/>
                    <a:pt x="11" y="23"/>
                  </a:cubicBezTo>
                  <a:cubicBezTo>
                    <a:pt x="12" y="21"/>
                    <a:pt x="15" y="11"/>
                    <a:pt x="13" y="7"/>
                  </a:cubicBezTo>
                  <a:cubicBezTo>
                    <a:pt x="10" y="3"/>
                    <a:pt x="0" y="0"/>
                    <a:pt x="1" y="7"/>
                  </a:cubicBezTo>
                  <a:cubicBezTo>
                    <a:pt x="2" y="10"/>
                    <a:pt x="5" y="11"/>
                    <a:pt x="5" y="13"/>
                  </a:cubicBezTo>
                  <a:cubicBezTo>
                    <a:pt x="6" y="17"/>
                    <a:pt x="3" y="21"/>
                    <a:pt x="2" y="27"/>
                  </a:cubicBezTo>
                  <a:cubicBezTo>
                    <a:pt x="1" y="37"/>
                    <a:pt x="7" y="53"/>
                    <a:pt x="23" y="52"/>
                  </a:cubicBezTo>
                  <a:cubicBezTo>
                    <a:pt x="25" y="52"/>
                    <a:pt x="30" y="50"/>
                    <a:pt x="33" y="4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" name="Google Shape;141;p1">
              <a:extLst>
                <a:ext uri="{FF2B5EF4-FFF2-40B4-BE49-F238E27FC236}">
                  <a16:creationId xmlns:a16="http://schemas.microsoft.com/office/drawing/2014/main" id="{59871A18-8FD0-4DCF-B528-ED31965DD8C6}"/>
                </a:ext>
              </a:extLst>
            </p:cNvPr>
            <p:cNvSpPr/>
            <p:nvPr/>
          </p:nvSpPr>
          <p:spPr>
            <a:xfrm>
              <a:off x="14274800" y="27527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5" h="7" extrusionOk="0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0" y="5"/>
                    <a:pt x="1" y="5"/>
                    <a:pt x="1" y="6"/>
                  </a:cubicBezTo>
                  <a:cubicBezTo>
                    <a:pt x="2" y="7"/>
                    <a:pt x="3" y="7"/>
                    <a:pt x="4" y="5"/>
                  </a:cubicBezTo>
                  <a:cubicBezTo>
                    <a:pt x="5" y="2"/>
                    <a:pt x="4" y="0"/>
                    <a:pt x="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142;p1">
              <a:extLst>
                <a:ext uri="{FF2B5EF4-FFF2-40B4-BE49-F238E27FC236}">
                  <a16:creationId xmlns:a16="http://schemas.microsoft.com/office/drawing/2014/main" id="{2A77B141-C99A-4997-97AA-8BD1E2A8696D}"/>
                </a:ext>
              </a:extLst>
            </p:cNvPr>
            <p:cNvSpPr/>
            <p:nvPr/>
          </p:nvSpPr>
          <p:spPr>
            <a:xfrm>
              <a:off x="14112875" y="2403475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4"/>
                  </a:moveTo>
                  <a:cubicBezTo>
                    <a:pt x="0" y="6"/>
                    <a:pt x="1" y="7"/>
                    <a:pt x="3" y="7"/>
                  </a:cubicBezTo>
                  <a:cubicBezTo>
                    <a:pt x="5" y="8"/>
                    <a:pt x="8" y="7"/>
                    <a:pt x="7" y="4"/>
                  </a:cubicBezTo>
                  <a:cubicBezTo>
                    <a:pt x="5" y="2"/>
                    <a:pt x="0" y="0"/>
                    <a:pt x="0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143;p1">
              <a:extLst>
                <a:ext uri="{FF2B5EF4-FFF2-40B4-BE49-F238E27FC236}">
                  <a16:creationId xmlns:a16="http://schemas.microsoft.com/office/drawing/2014/main" id="{6DC7A707-1E97-49FB-AB64-667A69FCD1C9}"/>
                </a:ext>
              </a:extLst>
            </p:cNvPr>
            <p:cNvSpPr/>
            <p:nvPr/>
          </p:nvSpPr>
          <p:spPr>
            <a:xfrm>
              <a:off x="14285913" y="2994025"/>
              <a:ext cx="6350" cy="7938"/>
            </a:xfrm>
            <a:custGeom>
              <a:avLst/>
              <a:gdLst/>
              <a:ahLst/>
              <a:cxnLst/>
              <a:rect l="l" t="t" r="r" b="b"/>
              <a:pathLst>
                <a:path w="13" h="14" extrusionOk="0">
                  <a:moveTo>
                    <a:pt x="4" y="0"/>
                  </a:moveTo>
                  <a:cubicBezTo>
                    <a:pt x="2" y="0"/>
                    <a:pt x="0" y="2"/>
                    <a:pt x="1" y="3"/>
                  </a:cubicBezTo>
                  <a:cubicBezTo>
                    <a:pt x="2" y="5"/>
                    <a:pt x="7" y="12"/>
                    <a:pt x="8" y="14"/>
                  </a:cubicBezTo>
                  <a:cubicBezTo>
                    <a:pt x="8" y="14"/>
                    <a:pt x="10" y="14"/>
                    <a:pt x="11" y="13"/>
                  </a:cubicBezTo>
                  <a:cubicBezTo>
                    <a:pt x="13" y="12"/>
                    <a:pt x="11" y="9"/>
                    <a:pt x="10" y="7"/>
                  </a:cubicBezTo>
                  <a:cubicBezTo>
                    <a:pt x="8" y="3"/>
                    <a:pt x="7" y="0"/>
                    <a:pt x="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Google Shape;144;p1">
              <a:extLst>
                <a:ext uri="{FF2B5EF4-FFF2-40B4-BE49-F238E27FC236}">
                  <a16:creationId xmlns:a16="http://schemas.microsoft.com/office/drawing/2014/main" id="{C024D36B-56AB-4161-AA1D-0BA449E9B15A}"/>
                </a:ext>
              </a:extLst>
            </p:cNvPr>
            <p:cNvSpPr/>
            <p:nvPr/>
          </p:nvSpPr>
          <p:spPr>
            <a:xfrm>
              <a:off x="14282738" y="3000375"/>
              <a:ext cx="6350" cy="7938"/>
            </a:xfrm>
            <a:custGeom>
              <a:avLst/>
              <a:gdLst/>
              <a:ahLst/>
              <a:cxnLst/>
              <a:rect l="l" t="t" r="r" b="b"/>
              <a:pathLst>
                <a:path w="11" h="13" extrusionOk="0">
                  <a:moveTo>
                    <a:pt x="4" y="1"/>
                  </a:moveTo>
                  <a:cubicBezTo>
                    <a:pt x="2" y="0"/>
                    <a:pt x="0" y="2"/>
                    <a:pt x="1" y="3"/>
                  </a:cubicBezTo>
                  <a:cubicBezTo>
                    <a:pt x="2" y="5"/>
                    <a:pt x="6" y="10"/>
                    <a:pt x="7" y="12"/>
                  </a:cubicBezTo>
                  <a:cubicBezTo>
                    <a:pt x="7" y="13"/>
                    <a:pt x="9" y="12"/>
                    <a:pt x="9" y="12"/>
                  </a:cubicBezTo>
                  <a:cubicBezTo>
                    <a:pt x="11" y="10"/>
                    <a:pt x="9" y="8"/>
                    <a:pt x="8" y="6"/>
                  </a:cubicBezTo>
                  <a:cubicBezTo>
                    <a:pt x="6" y="3"/>
                    <a:pt x="6" y="1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Google Shape;145;p1">
              <a:extLst>
                <a:ext uri="{FF2B5EF4-FFF2-40B4-BE49-F238E27FC236}">
                  <a16:creationId xmlns:a16="http://schemas.microsoft.com/office/drawing/2014/main" id="{FA763A0E-04E6-401C-BBA8-0410CFFBF400}"/>
                </a:ext>
              </a:extLst>
            </p:cNvPr>
            <p:cNvSpPr/>
            <p:nvPr/>
          </p:nvSpPr>
          <p:spPr>
            <a:xfrm>
              <a:off x="14274800" y="2749550"/>
              <a:ext cx="1588" cy="1588"/>
            </a:xfrm>
            <a:custGeom>
              <a:avLst/>
              <a:gdLst/>
              <a:ahLst/>
              <a:cxnLst/>
              <a:rect l="l" t="t" r="r" b="b"/>
              <a:pathLst>
                <a:path w="4" h="3" extrusionOk="0">
                  <a:moveTo>
                    <a:pt x="4" y="3"/>
                  </a:moveTo>
                  <a:cubicBezTo>
                    <a:pt x="4" y="2"/>
                    <a:pt x="4" y="1"/>
                    <a:pt x="3" y="0"/>
                  </a:cubicBezTo>
                  <a:cubicBezTo>
                    <a:pt x="2" y="0"/>
                    <a:pt x="0" y="0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146;p1">
              <a:extLst>
                <a:ext uri="{FF2B5EF4-FFF2-40B4-BE49-F238E27FC236}">
                  <a16:creationId xmlns:a16="http://schemas.microsoft.com/office/drawing/2014/main" id="{A2F06CEE-8B1B-4DDA-ACB3-606E028E2324}"/>
                </a:ext>
              </a:extLst>
            </p:cNvPr>
            <p:cNvSpPr/>
            <p:nvPr/>
          </p:nvSpPr>
          <p:spPr>
            <a:xfrm>
              <a:off x="14277975" y="2760663"/>
              <a:ext cx="3175" cy="3175"/>
            </a:xfrm>
            <a:custGeom>
              <a:avLst/>
              <a:gdLst/>
              <a:ahLst/>
              <a:cxnLst/>
              <a:rect l="l" t="t" r="r" b="b"/>
              <a:pathLst>
                <a:path w="5" h="6" extrusionOk="0">
                  <a:moveTo>
                    <a:pt x="3" y="6"/>
                  </a:moveTo>
                  <a:cubicBezTo>
                    <a:pt x="4" y="6"/>
                    <a:pt x="4" y="5"/>
                    <a:pt x="4" y="4"/>
                  </a:cubicBezTo>
                  <a:cubicBezTo>
                    <a:pt x="4" y="4"/>
                    <a:pt x="5" y="3"/>
                    <a:pt x="5" y="2"/>
                  </a:cubicBezTo>
                  <a:cubicBezTo>
                    <a:pt x="5" y="1"/>
                    <a:pt x="5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2" y="6"/>
                    <a:pt x="3" y="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Google Shape;147;p1">
              <a:extLst>
                <a:ext uri="{FF2B5EF4-FFF2-40B4-BE49-F238E27FC236}">
                  <a16:creationId xmlns:a16="http://schemas.microsoft.com/office/drawing/2014/main" id="{3D9109D7-3E81-4F4E-96B2-837673021E3A}"/>
                </a:ext>
              </a:extLst>
            </p:cNvPr>
            <p:cNvSpPr/>
            <p:nvPr/>
          </p:nvSpPr>
          <p:spPr>
            <a:xfrm>
              <a:off x="14222413" y="27400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1" y="3"/>
                  </a:moveTo>
                  <a:cubicBezTo>
                    <a:pt x="1" y="4"/>
                    <a:pt x="0" y="6"/>
                    <a:pt x="1" y="6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7" y="3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3" y="0"/>
                    <a:pt x="2" y="2"/>
                    <a:pt x="1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" name="Google Shape;148;p1">
              <a:extLst>
                <a:ext uri="{FF2B5EF4-FFF2-40B4-BE49-F238E27FC236}">
                  <a16:creationId xmlns:a16="http://schemas.microsoft.com/office/drawing/2014/main" id="{522AB53B-F83D-49A3-BD63-07AA7D7124AC}"/>
                </a:ext>
              </a:extLst>
            </p:cNvPr>
            <p:cNvSpPr/>
            <p:nvPr/>
          </p:nvSpPr>
          <p:spPr>
            <a:xfrm>
              <a:off x="14225588" y="2744788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6" h="7" extrusionOk="0">
                  <a:moveTo>
                    <a:pt x="0" y="3"/>
                  </a:moveTo>
                  <a:cubicBezTo>
                    <a:pt x="0" y="5"/>
                    <a:pt x="1" y="7"/>
                    <a:pt x="4" y="6"/>
                  </a:cubicBezTo>
                  <a:cubicBezTo>
                    <a:pt x="5" y="5"/>
                    <a:pt x="6" y="4"/>
                    <a:pt x="6" y="3"/>
                  </a:cubicBezTo>
                  <a:cubicBezTo>
                    <a:pt x="6" y="0"/>
                    <a:pt x="1" y="1"/>
                    <a:pt x="0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149;p1">
              <a:extLst>
                <a:ext uri="{FF2B5EF4-FFF2-40B4-BE49-F238E27FC236}">
                  <a16:creationId xmlns:a16="http://schemas.microsoft.com/office/drawing/2014/main" id="{DF0C6888-B0D7-4BB8-8B0C-7AA0EB4EF2A2}"/>
                </a:ext>
              </a:extLst>
            </p:cNvPr>
            <p:cNvSpPr/>
            <p:nvPr/>
          </p:nvSpPr>
          <p:spPr>
            <a:xfrm>
              <a:off x="14282738" y="3008313"/>
              <a:ext cx="3175" cy="7938"/>
            </a:xfrm>
            <a:custGeom>
              <a:avLst/>
              <a:gdLst/>
              <a:ahLst/>
              <a:cxnLst/>
              <a:rect l="l" t="t" r="r" b="b"/>
              <a:pathLst>
                <a:path w="6" h="13" extrusionOk="0">
                  <a:moveTo>
                    <a:pt x="1" y="1"/>
                  </a:moveTo>
                  <a:cubicBezTo>
                    <a:pt x="0" y="4"/>
                    <a:pt x="0" y="10"/>
                    <a:pt x="0" y="11"/>
                  </a:cubicBezTo>
                  <a:cubicBezTo>
                    <a:pt x="0" y="13"/>
                    <a:pt x="2" y="13"/>
                    <a:pt x="3" y="13"/>
                  </a:cubicBezTo>
                  <a:cubicBezTo>
                    <a:pt x="5" y="13"/>
                    <a:pt x="5" y="9"/>
                    <a:pt x="5" y="8"/>
                  </a:cubicBezTo>
                  <a:cubicBezTo>
                    <a:pt x="5" y="4"/>
                    <a:pt x="6" y="1"/>
                    <a:pt x="4" y="0"/>
                  </a:cubicBezTo>
                  <a:cubicBezTo>
                    <a:pt x="3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" name="Google Shape;150;p1">
              <a:extLst>
                <a:ext uri="{FF2B5EF4-FFF2-40B4-BE49-F238E27FC236}">
                  <a16:creationId xmlns:a16="http://schemas.microsoft.com/office/drawing/2014/main" id="{0426641C-2AA7-4099-BD1F-6046149904A7}"/>
                </a:ext>
              </a:extLst>
            </p:cNvPr>
            <p:cNvSpPr/>
            <p:nvPr/>
          </p:nvSpPr>
          <p:spPr>
            <a:xfrm>
              <a:off x="14247813" y="2366963"/>
              <a:ext cx="17463" cy="39688"/>
            </a:xfrm>
            <a:custGeom>
              <a:avLst/>
              <a:gdLst/>
              <a:ahLst/>
              <a:cxnLst/>
              <a:rect l="l" t="t" r="r" b="b"/>
              <a:pathLst>
                <a:path w="31" h="70" extrusionOk="0">
                  <a:moveTo>
                    <a:pt x="27" y="45"/>
                  </a:moveTo>
                  <a:cubicBezTo>
                    <a:pt x="25" y="45"/>
                    <a:pt x="25" y="45"/>
                    <a:pt x="25" y="45"/>
                  </a:cubicBezTo>
                  <a:cubicBezTo>
                    <a:pt x="23" y="49"/>
                    <a:pt x="17" y="55"/>
                    <a:pt x="13" y="50"/>
                  </a:cubicBezTo>
                  <a:cubicBezTo>
                    <a:pt x="10" y="47"/>
                    <a:pt x="10" y="44"/>
                    <a:pt x="10" y="37"/>
                  </a:cubicBezTo>
                  <a:cubicBezTo>
                    <a:pt x="9" y="31"/>
                    <a:pt x="9" y="19"/>
                    <a:pt x="14" y="15"/>
                  </a:cubicBezTo>
                  <a:cubicBezTo>
                    <a:pt x="17" y="13"/>
                    <a:pt x="21" y="10"/>
                    <a:pt x="23" y="14"/>
                  </a:cubicBezTo>
                  <a:cubicBezTo>
                    <a:pt x="24" y="15"/>
                    <a:pt x="25" y="24"/>
                    <a:pt x="25" y="24"/>
                  </a:cubicBezTo>
                  <a:cubicBezTo>
                    <a:pt x="31" y="24"/>
                    <a:pt x="29" y="0"/>
                    <a:pt x="19" y="3"/>
                  </a:cubicBezTo>
                  <a:cubicBezTo>
                    <a:pt x="15" y="4"/>
                    <a:pt x="12" y="5"/>
                    <a:pt x="8" y="9"/>
                  </a:cubicBezTo>
                  <a:cubicBezTo>
                    <a:pt x="0" y="17"/>
                    <a:pt x="4" y="37"/>
                    <a:pt x="3" y="49"/>
                  </a:cubicBezTo>
                  <a:cubicBezTo>
                    <a:pt x="1" y="70"/>
                    <a:pt x="27" y="62"/>
                    <a:pt x="27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151;p1">
              <a:extLst>
                <a:ext uri="{FF2B5EF4-FFF2-40B4-BE49-F238E27FC236}">
                  <a16:creationId xmlns:a16="http://schemas.microsoft.com/office/drawing/2014/main" id="{00C939A3-E059-4EB9-A698-6F8A608D8CF4}"/>
                </a:ext>
              </a:extLst>
            </p:cNvPr>
            <p:cNvSpPr/>
            <p:nvPr/>
          </p:nvSpPr>
          <p:spPr>
            <a:xfrm>
              <a:off x="14108113" y="2411413"/>
              <a:ext cx="4763" cy="4763"/>
            </a:xfrm>
            <a:custGeom>
              <a:avLst/>
              <a:gdLst/>
              <a:ahLst/>
              <a:cxnLst/>
              <a:rect l="l" t="t" r="r" b="b"/>
              <a:pathLst>
                <a:path w="10" h="7" extrusionOk="0">
                  <a:moveTo>
                    <a:pt x="1" y="3"/>
                  </a:moveTo>
                  <a:cubicBezTo>
                    <a:pt x="0" y="7"/>
                    <a:pt x="7" y="6"/>
                    <a:pt x="9" y="3"/>
                  </a:cubicBezTo>
                  <a:cubicBezTo>
                    <a:pt x="10" y="0"/>
                    <a:pt x="2" y="0"/>
                    <a:pt x="1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152;p1">
              <a:extLst>
                <a:ext uri="{FF2B5EF4-FFF2-40B4-BE49-F238E27FC236}">
                  <a16:creationId xmlns:a16="http://schemas.microsoft.com/office/drawing/2014/main" id="{3253F2BF-AA29-402E-B361-D08552F88F96}"/>
                </a:ext>
              </a:extLst>
            </p:cNvPr>
            <p:cNvSpPr/>
            <p:nvPr/>
          </p:nvSpPr>
          <p:spPr>
            <a:xfrm>
              <a:off x="14289088" y="2989263"/>
              <a:ext cx="7938" cy="6350"/>
            </a:xfrm>
            <a:custGeom>
              <a:avLst/>
              <a:gdLst/>
              <a:ahLst/>
              <a:cxnLst/>
              <a:rect l="l" t="t" r="r" b="b"/>
              <a:pathLst>
                <a:path w="15" h="13" extrusionOk="0">
                  <a:moveTo>
                    <a:pt x="5" y="0"/>
                  </a:moveTo>
                  <a:cubicBezTo>
                    <a:pt x="3" y="0"/>
                    <a:pt x="0" y="2"/>
                    <a:pt x="1" y="3"/>
                  </a:cubicBezTo>
                  <a:cubicBezTo>
                    <a:pt x="3" y="5"/>
                    <a:pt x="8" y="11"/>
                    <a:pt x="10" y="13"/>
                  </a:cubicBezTo>
                  <a:cubicBezTo>
                    <a:pt x="10" y="13"/>
                    <a:pt x="12" y="13"/>
                    <a:pt x="13" y="12"/>
                  </a:cubicBezTo>
                  <a:cubicBezTo>
                    <a:pt x="15" y="10"/>
                    <a:pt x="12" y="7"/>
                    <a:pt x="11" y="6"/>
                  </a:cubicBezTo>
                  <a:cubicBezTo>
                    <a:pt x="8" y="3"/>
                    <a:pt x="7" y="0"/>
                    <a:pt x="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153;p1">
              <a:extLst>
                <a:ext uri="{FF2B5EF4-FFF2-40B4-BE49-F238E27FC236}">
                  <a16:creationId xmlns:a16="http://schemas.microsoft.com/office/drawing/2014/main" id="{7493BA6B-D76A-492E-92E5-77BD67441940}"/>
                </a:ext>
              </a:extLst>
            </p:cNvPr>
            <p:cNvSpPr/>
            <p:nvPr/>
          </p:nvSpPr>
          <p:spPr>
            <a:xfrm>
              <a:off x="14365288" y="2781300"/>
              <a:ext cx="103188" cy="38100"/>
            </a:xfrm>
            <a:custGeom>
              <a:avLst/>
              <a:gdLst/>
              <a:ahLst/>
              <a:cxnLst/>
              <a:rect l="l" t="t" r="r" b="b"/>
              <a:pathLst>
                <a:path w="184" h="68" extrusionOk="0">
                  <a:moveTo>
                    <a:pt x="62" y="65"/>
                  </a:moveTo>
                  <a:cubicBezTo>
                    <a:pt x="62" y="66"/>
                    <a:pt x="62" y="66"/>
                    <a:pt x="62" y="67"/>
                  </a:cubicBezTo>
                  <a:cubicBezTo>
                    <a:pt x="91" y="67"/>
                    <a:pt x="105" y="68"/>
                    <a:pt x="119" y="68"/>
                  </a:cubicBezTo>
                  <a:cubicBezTo>
                    <a:pt x="119" y="66"/>
                    <a:pt x="120" y="65"/>
                    <a:pt x="120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5"/>
                    <a:pt x="131" y="66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44" y="61"/>
                    <a:pt x="156" y="51"/>
                    <a:pt x="164" y="42"/>
                  </a:cubicBezTo>
                  <a:cubicBezTo>
                    <a:pt x="168" y="37"/>
                    <a:pt x="184" y="14"/>
                    <a:pt x="181" y="4"/>
                  </a:cubicBezTo>
                  <a:cubicBezTo>
                    <a:pt x="181" y="4"/>
                    <a:pt x="180" y="5"/>
                    <a:pt x="179" y="5"/>
                  </a:cubicBezTo>
                  <a:cubicBezTo>
                    <a:pt x="165" y="1"/>
                    <a:pt x="165" y="1"/>
                    <a:pt x="165" y="1"/>
                  </a:cubicBezTo>
                  <a:cubicBezTo>
                    <a:pt x="166" y="1"/>
                    <a:pt x="167" y="0"/>
                    <a:pt x="168" y="0"/>
                  </a:cubicBezTo>
                  <a:cubicBezTo>
                    <a:pt x="143" y="1"/>
                    <a:pt x="119" y="6"/>
                    <a:pt x="92" y="5"/>
                  </a:cubicBezTo>
                  <a:cubicBezTo>
                    <a:pt x="72" y="4"/>
                    <a:pt x="45" y="3"/>
                    <a:pt x="25" y="1"/>
                  </a:cubicBezTo>
                  <a:cubicBezTo>
                    <a:pt x="18" y="1"/>
                    <a:pt x="12" y="0"/>
                    <a:pt x="7" y="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1" y="11"/>
                    <a:pt x="0" y="11"/>
                  </a:cubicBezTo>
                  <a:cubicBezTo>
                    <a:pt x="6" y="29"/>
                    <a:pt x="27" y="63"/>
                    <a:pt x="52" y="66"/>
                  </a:cubicBezTo>
                  <a:cubicBezTo>
                    <a:pt x="52" y="66"/>
                    <a:pt x="52" y="65"/>
                    <a:pt x="52" y="64"/>
                  </a:cubicBezTo>
                  <a:lnTo>
                    <a:pt x="62" y="65"/>
                  </a:lnTo>
                  <a:close/>
                  <a:moveTo>
                    <a:pt x="10" y="10"/>
                  </a:moveTo>
                  <a:cubicBezTo>
                    <a:pt x="10" y="8"/>
                    <a:pt x="17" y="11"/>
                    <a:pt x="24" y="11"/>
                  </a:cubicBezTo>
                  <a:cubicBezTo>
                    <a:pt x="35" y="12"/>
                    <a:pt x="54" y="15"/>
                    <a:pt x="62" y="15"/>
                  </a:cubicBezTo>
                  <a:cubicBezTo>
                    <a:pt x="88" y="14"/>
                    <a:pt x="114" y="14"/>
                    <a:pt x="139" y="13"/>
                  </a:cubicBezTo>
                  <a:cubicBezTo>
                    <a:pt x="148" y="12"/>
                    <a:pt x="159" y="10"/>
                    <a:pt x="166" y="8"/>
                  </a:cubicBezTo>
                  <a:cubicBezTo>
                    <a:pt x="182" y="5"/>
                    <a:pt x="154" y="39"/>
                    <a:pt x="146" y="47"/>
                  </a:cubicBezTo>
                  <a:cubicBezTo>
                    <a:pt x="142" y="51"/>
                    <a:pt x="134" y="55"/>
                    <a:pt x="126" y="56"/>
                  </a:cubicBezTo>
                  <a:cubicBezTo>
                    <a:pt x="107" y="59"/>
                    <a:pt x="78" y="57"/>
                    <a:pt x="65" y="58"/>
                  </a:cubicBezTo>
                  <a:cubicBezTo>
                    <a:pt x="42" y="59"/>
                    <a:pt x="9" y="27"/>
                    <a:pt x="10" y="1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154;p1">
              <a:extLst>
                <a:ext uri="{FF2B5EF4-FFF2-40B4-BE49-F238E27FC236}">
                  <a16:creationId xmlns:a16="http://schemas.microsoft.com/office/drawing/2014/main" id="{22A04896-33BF-4CCB-B6D1-E6B2CB356CA9}"/>
                </a:ext>
              </a:extLst>
            </p:cNvPr>
            <p:cNvSpPr/>
            <p:nvPr/>
          </p:nvSpPr>
          <p:spPr>
            <a:xfrm>
              <a:off x="14289088" y="2306638"/>
              <a:ext cx="250825" cy="481013"/>
            </a:xfrm>
            <a:custGeom>
              <a:avLst/>
              <a:gdLst/>
              <a:ahLst/>
              <a:cxnLst/>
              <a:rect l="l" t="t" r="r" b="b"/>
              <a:pathLst>
                <a:path w="448" h="860" extrusionOk="0">
                  <a:moveTo>
                    <a:pt x="136" y="849"/>
                  </a:moveTo>
                  <a:cubicBezTo>
                    <a:pt x="138" y="848"/>
                    <a:pt x="141" y="848"/>
                    <a:pt x="144" y="849"/>
                  </a:cubicBezTo>
                  <a:cubicBezTo>
                    <a:pt x="144" y="848"/>
                    <a:pt x="144" y="848"/>
                    <a:pt x="144" y="848"/>
                  </a:cubicBezTo>
                  <a:cubicBezTo>
                    <a:pt x="134" y="847"/>
                    <a:pt x="118" y="836"/>
                    <a:pt x="112" y="829"/>
                  </a:cubicBezTo>
                  <a:cubicBezTo>
                    <a:pt x="106" y="821"/>
                    <a:pt x="100" y="813"/>
                    <a:pt x="97" y="804"/>
                  </a:cubicBezTo>
                  <a:cubicBezTo>
                    <a:pt x="101" y="805"/>
                    <a:pt x="105" y="806"/>
                    <a:pt x="108" y="807"/>
                  </a:cubicBezTo>
                  <a:cubicBezTo>
                    <a:pt x="115" y="809"/>
                    <a:pt x="127" y="819"/>
                    <a:pt x="128" y="819"/>
                  </a:cubicBezTo>
                  <a:cubicBezTo>
                    <a:pt x="129" y="819"/>
                    <a:pt x="130" y="815"/>
                    <a:pt x="130" y="814"/>
                  </a:cubicBezTo>
                  <a:cubicBezTo>
                    <a:pt x="130" y="810"/>
                    <a:pt x="121" y="804"/>
                    <a:pt x="118" y="801"/>
                  </a:cubicBezTo>
                  <a:cubicBezTo>
                    <a:pt x="112" y="798"/>
                    <a:pt x="97" y="795"/>
                    <a:pt x="88" y="790"/>
                  </a:cubicBezTo>
                  <a:cubicBezTo>
                    <a:pt x="80" y="786"/>
                    <a:pt x="76" y="778"/>
                    <a:pt x="71" y="768"/>
                  </a:cubicBezTo>
                  <a:cubicBezTo>
                    <a:pt x="65" y="756"/>
                    <a:pt x="64" y="746"/>
                    <a:pt x="63" y="737"/>
                  </a:cubicBezTo>
                  <a:cubicBezTo>
                    <a:pt x="69" y="740"/>
                    <a:pt x="74" y="742"/>
                    <a:pt x="81" y="744"/>
                  </a:cubicBezTo>
                  <a:cubicBezTo>
                    <a:pt x="85" y="746"/>
                    <a:pt x="90" y="748"/>
                    <a:pt x="94" y="751"/>
                  </a:cubicBezTo>
                  <a:cubicBezTo>
                    <a:pt x="100" y="756"/>
                    <a:pt x="105" y="761"/>
                    <a:pt x="105" y="761"/>
                  </a:cubicBezTo>
                  <a:cubicBezTo>
                    <a:pt x="107" y="762"/>
                    <a:pt x="108" y="758"/>
                    <a:pt x="108" y="757"/>
                  </a:cubicBezTo>
                  <a:cubicBezTo>
                    <a:pt x="108" y="753"/>
                    <a:pt x="98" y="742"/>
                    <a:pt x="92" y="739"/>
                  </a:cubicBezTo>
                  <a:cubicBezTo>
                    <a:pt x="83" y="734"/>
                    <a:pt x="71" y="732"/>
                    <a:pt x="62" y="725"/>
                  </a:cubicBezTo>
                  <a:cubicBezTo>
                    <a:pt x="57" y="721"/>
                    <a:pt x="53" y="719"/>
                    <a:pt x="50" y="716"/>
                  </a:cubicBezTo>
                  <a:cubicBezTo>
                    <a:pt x="48" y="712"/>
                    <a:pt x="46" y="708"/>
                    <a:pt x="43" y="698"/>
                  </a:cubicBezTo>
                  <a:cubicBezTo>
                    <a:pt x="40" y="690"/>
                    <a:pt x="40" y="685"/>
                    <a:pt x="40" y="678"/>
                  </a:cubicBezTo>
                  <a:cubicBezTo>
                    <a:pt x="40" y="674"/>
                    <a:pt x="40" y="671"/>
                    <a:pt x="41" y="667"/>
                  </a:cubicBezTo>
                  <a:cubicBezTo>
                    <a:pt x="53" y="674"/>
                    <a:pt x="68" y="681"/>
                    <a:pt x="76" y="686"/>
                  </a:cubicBezTo>
                  <a:cubicBezTo>
                    <a:pt x="79" y="688"/>
                    <a:pt x="85" y="695"/>
                    <a:pt x="88" y="698"/>
                  </a:cubicBezTo>
                  <a:cubicBezTo>
                    <a:pt x="88" y="699"/>
                    <a:pt x="95" y="698"/>
                    <a:pt x="88" y="686"/>
                  </a:cubicBezTo>
                  <a:cubicBezTo>
                    <a:pt x="80" y="672"/>
                    <a:pt x="50" y="665"/>
                    <a:pt x="39" y="652"/>
                  </a:cubicBezTo>
                  <a:cubicBezTo>
                    <a:pt x="34" y="647"/>
                    <a:pt x="26" y="636"/>
                    <a:pt x="25" y="629"/>
                  </a:cubicBezTo>
                  <a:cubicBezTo>
                    <a:pt x="24" y="623"/>
                    <a:pt x="25" y="613"/>
                    <a:pt x="27" y="605"/>
                  </a:cubicBezTo>
                  <a:cubicBezTo>
                    <a:pt x="28" y="607"/>
                    <a:pt x="30" y="609"/>
                    <a:pt x="32" y="610"/>
                  </a:cubicBezTo>
                  <a:cubicBezTo>
                    <a:pt x="36" y="612"/>
                    <a:pt x="46" y="616"/>
                    <a:pt x="55" y="622"/>
                  </a:cubicBezTo>
                  <a:cubicBezTo>
                    <a:pt x="61" y="626"/>
                    <a:pt x="67" y="629"/>
                    <a:pt x="70" y="632"/>
                  </a:cubicBezTo>
                  <a:cubicBezTo>
                    <a:pt x="71" y="633"/>
                    <a:pt x="74" y="631"/>
                    <a:pt x="74" y="630"/>
                  </a:cubicBezTo>
                  <a:cubicBezTo>
                    <a:pt x="76" y="625"/>
                    <a:pt x="65" y="617"/>
                    <a:pt x="52" y="611"/>
                  </a:cubicBezTo>
                  <a:cubicBezTo>
                    <a:pt x="41" y="605"/>
                    <a:pt x="30" y="599"/>
                    <a:pt x="27" y="594"/>
                  </a:cubicBezTo>
                  <a:cubicBezTo>
                    <a:pt x="17" y="582"/>
                    <a:pt x="12" y="560"/>
                    <a:pt x="20" y="544"/>
                  </a:cubicBezTo>
                  <a:cubicBezTo>
                    <a:pt x="24" y="547"/>
                    <a:pt x="28" y="550"/>
                    <a:pt x="33" y="553"/>
                  </a:cubicBezTo>
                  <a:cubicBezTo>
                    <a:pt x="38" y="557"/>
                    <a:pt x="46" y="561"/>
                    <a:pt x="53" y="564"/>
                  </a:cubicBezTo>
                  <a:cubicBezTo>
                    <a:pt x="55" y="565"/>
                    <a:pt x="68" y="574"/>
                    <a:pt x="70" y="574"/>
                  </a:cubicBezTo>
                  <a:cubicBezTo>
                    <a:pt x="81" y="571"/>
                    <a:pt x="63" y="561"/>
                    <a:pt x="47" y="551"/>
                  </a:cubicBezTo>
                  <a:cubicBezTo>
                    <a:pt x="39" y="546"/>
                    <a:pt x="32" y="544"/>
                    <a:pt x="27" y="540"/>
                  </a:cubicBezTo>
                  <a:cubicBezTo>
                    <a:pt x="20" y="532"/>
                    <a:pt x="15" y="517"/>
                    <a:pt x="14" y="507"/>
                  </a:cubicBezTo>
                  <a:cubicBezTo>
                    <a:pt x="13" y="500"/>
                    <a:pt x="13" y="491"/>
                    <a:pt x="15" y="484"/>
                  </a:cubicBezTo>
                  <a:cubicBezTo>
                    <a:pt x="15" y="483"/>
                    <a:pt x="15" y="480"/>
                    <a:pt x="16" y="478"/>
                  </a:cubicBezTo>
                  <a:cubicBezTo>
                    <a:pt x="17" y="480"/>
                    <a:pt x="24" y="486"/>
                    <a:pt x="31" y="490"/>
                  </a:cubicBezTo>
                  <a:cubicBezTo>
                    <a:pt x="42" y="496"/>
                    <a:pt x="63" y="503"/>
                    <a:pt x="71" y="513"/>
                  </a:cubicBezTo>
                  <a:cubicBezTo>
                    <a:pt x="76" y="520"/>
                    <a:pt x="79" y="524"/>
                    <a:pt x="82" y="527"/>
                  </a:cubicBezTo>
                  <a:cubicBezTo>
                    <a:pt x="84" y="529"/>
                    <a:pt x="86" y="528"/>
                    <a:pt x="87" y="524"/>
                  </a:cubicBezTo>
                  <a:cubicBezTo>
                    <a:pt x="88" y="523"/>
                    <a:pt x="87" y="521"/>
                    <a:pt x="86" y="518"/>
                  </a:cubicBezTo>
                  <a:cubicBezTo>
                    <a:pt x="85" y="510"/>
                    <a:pt x="88" y="497"/>
                    <a:pt x="94" y="481"/>
                  </a:cubicBezTo>
                  <a:cubicBezTo>
                    <a:pt x="102" y="457"/>
                    <a:pt x="114" y="429"/>
                    <a:pt x="130" y="402"/>
                  </a:cubicBezTo>
                  <a:cubicBezTo>
                    <a:pt x="141" y="384"/>
                    <a:pt x="152" y="368"/>
                    <a:pt x="161" y="355"/>
                  </a:cubicBezTo>
                  <a:cubicBezTo>
                    <a:pt x="168" y="344"/>
                    <a:pt x="216" y="289"/>
                    <a:pt x="222" y="284"/>
                  </a:cubicBezTo>
                  <a:cubicBezTo>
                    <a:pt x="241" y="269"/>
                    <a:pt x="261" y="243"/>
                    <a:pt x="275" y="224"/>
                  </a:cubicBezTo>
                  <a:cubicBezTo>
                    <a:pt x="279" y="218"/>
                    <a:pt x="290" y="192"/>
                    <a:pt x="290" y="186"/>
                  </a:cubicBezTo>
                  <a:cubicBezTo>
                    <a:pt x="291" y="177"/>
                    <a:pt x="291" y="170"/>
                    <a:pt x="290" y="162"/>
                  </a:cubicBezTo>
                  <a:cubicBezTo>
                    <a:pt x="288" y="148"/>
                    <a:pt x="284" y="138"/>
                    <a:pt x="270" y="131"/>
                  </a:cubicBezTo>
                  <a:cubicBezTo>
                    <a:pt x="261" y="126"/>
                    <a:pt x="252" y="126"/>
                    <a:pt x="248" y="124"/>
                  </a:cubicBezTo>
                  <a:cubicBezTo>
                    <a:pt x="250" y="119"/>
                    <a:pt x="261" y="110"/>
                    <a:pt x="267" y="108"/>
                  </a:cubicBezTo>
                  <a:cubicBezTo>
                    <a:pt x="273" y="107"/>
                    <a:pt x="291" y="104"/>
                    <a:pt x="299" y="111"/>
                  </a:cubicBezTo>
                  <a:cubicBezTo>
                    <a:pt x="313" y="124"/>
                    <a:pt x="311" y="128"/>
                    <a:pt x="312" y="152"/>
                  </a:cubicBezTo>
                  <a:cubicBezTo>
                    <a:pt x="312" y="157"/>
                    <a:pt x="314" y="158"/>
                    <a:pt x="316" y="156"/>
                  </a:cubicBezTo>
                  <a:cubicBezTo>
                    <a:pt x="319" y="154"/>
                    <a:pt x="321" y="128"/>
                    <a:pt x="322" y="126"/>
                  </a:cubicBezTo>
                  <a:cubicBezTo>
                    <a:pt x="331" y="84"/>
                    <a:pt x="365" y="57"/>
                    <a:pt x="372" y="23"/>
                  </a:cubicBezTo>
                  <a:cubicBezTo>
                    <a:pt x="378" y="35"/>
                    <a:pt x="380" y="50"/>
                    <a:pt x="379" y="64"/>
                  </a:cubicBezTo>
                  <a:cubicBezTo>
                    <a:pt x="379" y="82"/>
                    <a:pt x="372" y="95"/>
                    <a:pt x="363" y="110"/>
                  </a:cubicBezTo>
                  <a:cubicBezTo>
                    <a:pt x="361" y="114"/>
                    <a:pt x="347" y="134"/>
                    <a:pt x="343" y="144"/>
                  </a:cubicBezTo>
                  <a:cubicBezTo>
                    <a:pt x="341" y="146"/>
                    <a:pt x="343" y="148"/>
                    <a:pt x="345" y="148"/>
                  </a:cubicBezTo>
                  <a:cubicBezTo>
                    <a:pt x="352" y="143"/>
                    <a:pt x="377" y="105"/>
                    <a:pt x="381" y="99"/>
                  </a:cubicBezTo>
                  <a:cubicBezTo>
                    <a:pt x="383" y="97"/>
                    <a:pt x="385" y="89"/>
                    <a:pt x="387" y="82"/>
                  </a:cubicBezTo>
                  <a:cubicBezTo>
                    <a:pt x="397" y="90"/>
                    <a:pt x="398" y="131"/>
                    <a:pt x="391" y="143"/>
                  </a:cubicBezTo>
                  <a:cubicBezTo>
                    <a:pt x="382" y="160"/>
                    <a:pt x="379" y="166"/>
                    <a:pt x="365" y="182"/>
                  </a:cubicBezTo>
                  <a:cubicBezTo>
                    <a:pt x="362" y="186"/>
                    <a:pt x="343" y="207"/>
                    <a:pt x="346" y="209"/>
                  </a:cubicBezTo>
                  <a:cubicBezTo>
                    <a:pt x="347" y="210"/>
                    <a:pt x="347" y="211"/>
                    <a:pt x="348" y="211"/>
                  </a:cubicBezTo>
                  <a:cubicBezTo>
                    <a:pt x="352" y="210"/>
                    <a:pt x="357" y="203"/>
                    <a:pt x="360" y="201"/>
                  </a:cubicBezTo>
                  <a:cubicBezTo>
                    <a:pt x="368" y="194"/>
                    <a:pt x="381" y="181"/>
                    <a:pt x="390" y="166"/>
                  </a:cubicBezTo>
                  <a:cubicBezTo>
                    <a:pt x="391" y="164"/>
                    <a:pt x="393" y="161"/>
                    <a:pt x="394" y="158"/>
                  </a:cubicBezTo>
                  <a:cubicBezTo>
                    <a:pt x="404" y="214"/>
                    <a:pt x="366" y="232"/>
                    <a:pt x="337" y="251"/>
                  </a:cubicBezTo>
                  <a:cubicBezTo>
                    <a:pt x="331" y="255"/>
                    <a:pt x="334" y="259"/>
                    <a:pt x="337" y="258"/>
                  </a:cubicBezTo>
                  <a:cubicBezTo>
                    <a:pt x="339" y="257"/>
                    <a:pt x="342" y="257"/>
                    <a:pt x="343" y="256"/>
                  </a:cubicBezTo>
                  <a:cubicBezTo>
                    <a:pt x="347" y="254"/>
                    <a:pt x="358" y="248"/>
                    <a:pt x="362" y="245"/>
                  </a:cubicBezTo>
                  <a:cubicBezTo>
                    <a:pt x="371" y="239"/>
                    <a:pt x="378" y="234"/>
                    <a:pt x="383" y="228"/>
                  </a:cubicBezTo>
                  <a:cubicBezTo>
                    <a:pt x="386" y="255"/>
                    <a:pt x="359" y="271"/>
                    <a:pt x="353" y="279"/>
                  </a:cubicBezTo>
                  <a:cubicBezTo>
                    <a:pt x="340" y="271"/>
                    <a:pt x="324" y="271"/>
                    <a:pt x="312" y="282"/>
                  </a:cubicBezTo>
                  <a:cubicBezTo>
                    <a:pt x="331" y="281"/>
                    <a:pt x="335" y="281"/>
                    <a:pt x="341" y="283"/>
                  </a:cubicBezTo>
                  <a:cubicBezTo>
                    <a:pt x="355" y="289"/>
                    <a:pt x="363" y="298"/>
                    <a:pt x="364" y="313"/>
                  </a:cubicBezTo>
                  <a:cubicBezTo>
                    <a:pt x="365" y="323"/>
                    <a:pt x="354" y="342"/>
                    <a:pt x="346" y="347"/>
                  </a:cubicBezTo>
                  <a:cubicBezTo>
                    <a:pt x="350" y="325"/>
                    <a:pt x="327" y="305"/>
                    <a:pt x="305" y="305"/>
                  </a:cubicBezTo>
                  <a:cubicBezTo>
                    <a:pt x="277" y="305"/>
                    <a:pt x="268" y="310"/>
                    <a:pt x="246" y="325"/>
                  </a:cubicBezTo>
                  <a:cubicBezTo>
                    <a:pt x="185" y="378"/>
                    <a:pt x="132" y="455"/>
                    <a:pt x="124" y="538"/>
                  </a:cubicBezTo>
                  <a:cubicBezTo>
                    <a:pt x="122" y="558"/>
                    <a:pt x="120" y="590"/>
                    <a:pt x="125" y="619"/>
                  </a:cubicBezTo>
                  <a:cubicBezTo>
                    <a:pt x="127" y="630"/>
                    <a:pt x="129" y="635"/>
                    <a:pt x="132" y="644"/>
                  </a:cubicBezTo>
                  <a:cubicBezTo>
                    <a:pt x="138" y="658"/>
                    <a:pt x="150" y="692"/>
                    <a:pt x="156" y="707"/>
                  </a:cubicBezTo>
                  <a:cubicBezTo>
                    <a:pt x="158" y="713"/>
                    <a:pt x="177" y="753"/>
                    <a:pt x="182" y="768"/>
                  </a:cubicBezTo>
                  <a:cubicBezTo>
                    <a:pt x="179" y="784"/>
                    <a:pt x="179" y="803"/>
                    <a:pt x="191" y="817"/>
                  </a:cubicBezTo>
                  <a:cubicBezTo>
                    <a:pt x="204" y="819"/>
                    <a:pt x="195" y="802"/>
                    <a:pt x="194" y="796"/>
                  </a:cubicBezTo>
                  <a:cubicBezTo>
                    <a:pt x="192" y="786"/>
                    <a:pt x="192" y="777"/>
                    <a:pt x="194" y="768"/>
                  </a:cubicBezTo>
                  <a:cubicBezTo>
                    <a:pt x="201" y="738"/>
                    <a:pt x="219" y="708"/>
                    <a:pt x="221" y="676"/>
                  </a:cubicBezTo>
                  <a:cubicBezTo>
                    <a:pt x="221" y="675"/>
                    <a:pt x="221" y="674"/>
                    <a:pt x="223" y="676"/>
                  </a:cubicBezTo>
                  <a:cubicBezTo>
                    <a:pt x="227" y="680"/>
                    <a:pt x="230" y="684"/>
                    <a:pt x="233" y="689"/>
                  </a:cubicBezTo>
                  <a:cubicBezTo>
                    <a:pt x="229" y="690"/>
                    <a:pt x="229" y="690"/>
                    <a:pt x="229" y="690"/>
                  </a:cubicBezTo>
                  <a:cubicBezTo>
                    <a:pt x="230" y="692"/>
                    <a:pt x="230" y="695"/>
                    <a:pt x="230" y="698"/>
                  </a:cubicBezTo>
                  <a:cubicBezTo>
                    <a:pt x="230" y="701"/>
                    <a:pt x="230" y="703"/>
                    <a:pt x="230" y="706"/>
                  </a:cubicBezTo>
                  <a:cubicBezTo>
                    <a:pt x="229" y="720"/>
                    <a:pt x="226" y="734"/>
                    <a:pt x="220" y="746"/>
                  </a:cubicBezTo>
                  <a:cubicBezTo>
                    <a:pt x="220" y="746"/>
                    <a:pt x="220" y="746"/>
                    <a:pt x="220" y="746"/>
                  </a:cubicBezTo>
                  <a:cubicBezTo>
                    <a:pt x="219" y="747"/>
                    <a:pt x="219" y="750"/>
                    <a:pt x="218" y="752"/>
                  </a:cubicBezTo>
                  <a:cubicBezTo>
                    <a:pt x="217" y="754"/>
                    <a:pt x="217" y="757"/>
                    <a:pt x="216" y="759"/>
                  </a:cubicBezTo>
                  <a:cubicBezTo>
                    <a:pt x="213" y="773"/>
                    <a:pt x="211" y="790"/>
                    <a:pt x="212" y="795"/>
                  </a:cubicBezTo>
                  <a:cubicBezTo>
                    <a:pt x="212" y="797"/>
                    <a:pt x="214" y="798"/>
                    <a:pt x="215" y="797"/>
                  </a:cubicBezTo>
                  <a:cubicBezTo>
                    <a:pt x="216" y="797"/>
                    <a:pt x="217" y="795"/>
                    <a:pt x="217" y="794"/>
                  </a:cubicBezTo>
                  <a:cubicBezTo>
                    <a:pt x="216" y="789"/>
                    <a:pt x="218" y="773"/>
                    <a:pt x="220" y="761"/>
                  </a:cubicBezTo>
                  <a:cubicBezTo>
                    <a:pt x="221" y="758"/>
                    <a:pt x="222" y="756"/>
                    <a:pt x="222" y="754"/>
                  </a:cubicBezTo>
                  <a:cubicBezTo>
                    <a:pt x="223" y="752"/>
                    <a:pt x="224" y="750"/>
                    <a:pt x="224" y="748"/>
                  </a:cubicBezTo>
                  <a:cubicBezTo>
                    <a:pt x="224" y="748"/>
                    <a:pt x="224" y="748"/>
                    <a:pt x="224" y="748"/>
                  </a:cubicBezTo>
                  <a:cubicBezTo>
                    <a:pt x="230" y="736"/>
                    <a:pt x="234" y="721"/>
                    <a:pt x="235" y="706"/>
                  </a:cubicBezTo>
                  <a:cubicBezTo>
                    <a:pt x="235" y="703"/>
                    <a:pt x="235" y="700"/>
                    <a:pt x="235" y="697"/>
                  </a:cubicBezTo>
                  <a:cubicBezTo>
                    <a:pt x="235" y="695"/>
                    <a:pt x="234" y="693"/>
                    <a:pt x="234" y="691"/>
                  </a:cubicBezTo>
                  <a:cubicBezTo>
                    <a:pt x="243" y="705"/>
                    <a:pt x="251" y="723"/>
                    <a:pt x="252" y="746"/>
                  </a:cubicBezTo>
                  <a:cubicBezTo>
                    <a:pt x="253" y="760"/>
                    <a:pt x="252" y="775"/>
                    <a:pt x="249" y="789"/>
                  </a:cubicBezTo>
                  <a:cubicBezTo>
                    <a:pt x="248" y="798"/>
                    <a:pt x="245" y="812"/>
                    <a:pt x="244" y="817"/>
                  </a:cubicBezTo>
                  <a:cubicBezTo>
                    <a:pt x="244" y="820"/>
                    <a:pt x="249" y="820"/>
                    <a:pt x="252" y="819"/>
                  </a:cubicBezTo>
                  <a:cubicBezTo>
                    <a:pt x="255" y="812"/>
                    <a:pt x="257" y="803"/>
                    <a:pt x="259" y="794"/>
                  </a:cubicBezTo>
                  <a:cubicBezTo>
                    <a:pt x="263" y="782"/>
                    <a:pt x="270" y="761"/>
                    <a:pt x="271" y="757"/>
                  </a:cubicBezTo>
                  <a:cubicBezTo>
                    <a:pt x="277" y="739"/>
                    <a:pt x="281" y="718"/>
                    <a:pt x="284" y="699"/>
                  </a:cubicBezTo>
                  <a:cubicBezTo>
                    <a:pt x="286" y="684"/>
                    <a:pt x="291" y="661"/>
                    <a:pt x="294" y="637"/>
                  </a:cubicBezTo>
                  <a:cubicBezTo>
                    <a:pt x="297" y="613"/>
                    <a:pt x="298" y="589"/>
                    <a:pt x="299" y="573"/>
                  </a:cubicBezTo>
                  <a:cubicBezTo>
                    <a:pt x="302" y="499"/>
                    <a:pt x="266" y="390"/>
                    <a:pt x="225" y="363"/>
                  </a:cubicBezTo>
                  <a:cubicBezTo>
                    <a:pt x="238" y="350"/>
                    <a:pt x="252" y="337"/>
                    <a:pt x="260" y="330"/>
                  </a:cubicBezTo>
                  <a:cubicBezTo>
                    <a:pt x="261" y="330"/>
                    <a:pt x="261" y="329"/>
                    <a:pt x="262" y="329"/>
                  </a:cubicBezTo>
                  <a:cubicBezTo>
                    <a:pt x="280" y="346"/>
                    <a:pt x="310" y="390"/>
                    <a:pt x="320" y="412"/>
                  </a:cubicBezTo>
                  <a:cubicBezTo>
                    <a:pt x="328" y="430"/>
                    <a:pt x="343" y="453"/>
                    <a:pt x="347" y="473"/>
                  </a:cubicBezTo>
                  <a:cubicBezTo>
                    <a:pt x="349" y="482"/>
                    <a:pt x="351" y="488"/>
                    <a:pt x="352" y="500"/>
                  </a:cubicBezTo>
                  <a:cubicBezTo>
                    <a:pt x="353" y="507"/>
                    <a:pt x="352" y="512"/>
                    <a:pt x="353" y="516"/>
                  </a:cubicBezTo>
                  <a:cubicBezTo>
                    <a:pt x="352" y="518"/>
                    <a:pt x="352" y="519"/>
                    <a:pt x="353" y="520"/>
                  </a:cubicBezTo>
                  <a:cubicBezTo>
                    <a:pt x="353" y="520"/>
                    <a:pt x="353" y="520"/>
                    <a:pt x="353" y="520"/>
                  </a:cubicBezTo>
                  <a:cubicBezTo>
                    <a:pt x="353" y="523"/>
                    <a:pt x="354" y="523"/>
                    <a:pt x="357" y="519"/>
                  </a:cubicBezTo>
                  <a:cubicBezTo>
                    <a:pt x="359" y="517"/>
                    <a:pt x="364" y="513"/>
                    <a:pt x="373" y="506"/>
                  </a:cubicBezTo>
                  <a:cubicBezTo>
                    <a:pt x="390" y="493"/>
                    <a:pt x="405" y="486"/>
                    <a:pt x="419" y="474"/>
                  </a:cubicBezTo>
                  <a:cubicBezTo>
                    <a:pt x="423" y="471"/>
                    <a:pt x="427" y="463"/>
                    <a:pt x="430" y="461"/>
                  </a:cubicBezTo>
                  <a:cubicBezTo>
                    <a:pt x="430" y="461"/>
                    <a:pt x="431" y="461"/>
                    <a:pt x="432" y="461"/>
                  </a:cubicBezTo>
                  <a:cubicBezTo>
                    <a:pt x="433" y="462"/>
                    <a:pt x="433" y="465"/>
                    <a:pt x="433" y="471"/>
                  </a:cubicBezTo>
                  <a:cubicBezTo>
                    <a:pt x="432" y="480"/>
                    <a:pt x="431" y="489"/>
                    <a:pt x="428" y="498"/>
                  </a:cubicBezTo>
                  <a:cubicBezTo>
                    <a:pt x="425" y="506"/>
                    <a:pt x="419" y="518"/>
                    <a:pt x="413" y="525"/>
                  </a:cubicBezTo>
                  <a:cubicBezTo>
                    <a:pt x="392" y="545"/>
                    <a:pt x="362" y="561"/>
                    <a:pt x="362" y="566"/>
                  </a:cubicBezTo>
                  <a:cubicBezTo>
                    <a:pt x="362" y="568"/>
                    <a:pt x="360" y="571"/>
                    <a:pt x="365" y="569"/>
                  </a:cubicBezTo>
                  <a:cubicBezTo>
                    <a:pt x="368" y="567"/>
                    <a:pt x="374" y="562"/>
                    <a:pt x="378" y="559"/>
                  </a:cubicBezTo>
                  <a:cubicBezTo>
                    <a:pt x="384" y="555"/>
                    <a:pt x="411" y="536"/>
                    <a:pt x="416" y="531"/>
                  </a:cubicBezTo>
                  <a:cubicBezTo>
                    <a:pt x="423" y="524"/>
                    <a:pt x="427" y="519"/>
                    <a:pt x="430" y="514"/>
                  </a:cubicBezTo>
                  <a:cubicBezTo>
                    <a:pt x="436" y="522"/>
                    <a:pt x="434" y="544"/>
                    <a:pt x="432" y="551"/>
                  </a:cubicBezTo>
                  <a:cubicBezTo>
                    <a:pt x="428" y="563"/>
                    <a:pt x="420" y="577"/>
                    <a:pt x="413" y="589"/>
                  </a:cubicBezTo>
                  <a:cubicBezTo>
                    <a:pt x="403" y="606"/>
                    <a:pt x="359" y="620"/>
                    <a:pt x="349" y="638"/>
                  </a:cubicBezTo>
                  <a:cubicBezTo>
                    <a:pt x="349" y="638"/>
                    <a:pt x="352" y="640"/>
                    <a:pt x="353" y="639"/>
                  </a:cubicBezTo>
                  <a:cubicBezTo>
                    <a:pt x="374" y="623"/>
                    <a:pt x="412" y="610"/>
                    <a:pt x="426" y="585"/>
                  </a:cubicBezTo>
                  <a:cubicBezTo>
                    <a:pt x="426" y="585"/>
                    <a:pt x="426" y="584"/>
                    <a:pt x="427" y="584"/>
                  </a:cubicBezTo>
                  <a:cubicBezTo>
                    <a:pt x="430" y="594"/>
                    <a:pt x="425" y="613"/>
                    <a:pt x="424" y="617"/>
                  </a:cubicBezTo>
                  <a:cubicBezTo>
                    <a:pt x="420" y="628"/>
                    <a:pt x="413" y="637"/>
                    <a:pt x="405" y="645"/>
                  </a:cubicBezTo>
                  <a:cubicBezTo>
                    <a:pt x="395" y="655"/>
                    <a:pt x="395" y="656"/>
                    <a:pt x="379" y="666"/>
                  </a:cubicBezTo>
                  <a:cubicBezTo>
                    <a:pt x="360" y="679"/>
                    <a:pt x="352" y="686"/>
                    <a:pt x="351" y="687"/>
                  </a:cubicBezTo>
                  <a:cubicBezTo>
                    <a:pt x="349" y="693"/>
                    <a:pt x="350" y="694"/>
                    <a:pt x="353" y="692"/>
                  </a:cubicBezTo>
                  <a:cubicBezTo>
                    <a:pt x="355" y="691"/>
                    <a:pt x="359" y="688"/>
                    <a:pt x="363" y="685"/>
                  </a:cubicBezTo>
                  <a:cubicBezTo>
                    <a:pt x="369" y="680"/>
                    <a:pt x="385" y="672"/>
                    <a:pt x="401" y="661"/>
                  </a:cubicBezTo>
                  <a:cubicBezTo>
                    <a:pt x="404" y="658"/>
                    <a:pt x="407" y="656"/>
                    <a:pt x="410" y="653"/>
                  </a:cubicBezTo>
                  <a:cubicBezTo>
                    <a:pt x="410" y="682"/>
                    <a:pt x="403" y="695"/>
                    <a:pt x="395" y="707"/>
                  </a:cubicBezTo>
                  <a:cubicBezTo>
                    <a:pt x="388" y="716"/>
                    <a:pt x="375" y="725"/>
                    <a:pt x="363" y="732"/>
                  </a:cubicBezTo>
                  <a:cubicBezTo>
                    <a:pt x="354" y="737"/>
                    <a:pt x="347" y="741"/>
                    <a:pt x="343" y="745"/>
                  </a:cubicBezTo>
                  <a:cubicBezTo>
                    <a:pt x="340" y="747"/>
                    <a:pt x="335" y="751"/>
                    <a:pt x="334" y="753"/>
                  </a:cubicBezTo>
                  <a:cubicBezTo>
                    <a:pt x="329" y="760"/>
                    <a:pt x="333" y="763"/>
                    <a:pt x="343" y="753"/>
                  </a:cubicBezTo>
                  <a:cubicBezTo>
                    <a:pt x="346" y="750"/>
                    <a:pt x="360" y="742"/>
                    <a:pt x="365" y="740"/>
                  </a:cubicBezTo>
                  <a:cubicBezTo>
                    <a:pt x="372" y="737"/>
                    <a:pt x="380" y="733"/>
                    <a:pt x="387" y="728"/>
                  </a:cubicBezTo>
                  <a:cubicBezTo>
                    <a:pt x="386" y="750"/>
                    <a:pt x="377" y="761"/>
                    <a:pt x="365" y="773"/>
                  </a:cubicBezTo>
                  <a:cubicBezTo>
                    <a:pt x="350" y="788"/>
                    <a:pt x="328" y="788"/>
                    <a:pt x="311" y="806"/>
                  </a:cubicBezTo>
                  <a:cubicBezTo>
                    <a:pt x="308" y="809"/>
                    <a:pt x="311" y="811"/>
                    <a:pt x="314" y="810"/>
                  </a:cubicBezTo>
                  <a:cubicBezTo>
                    <a:pt x="321" y="807"/>
                    <a:pt x="336" y="799"/>
                    <a:pt x="338" y="798"/>
                  </a:cubicBezTo>
                  <a:cubicBezTo>
                    <a:pt x="345" y="795"/>
                    <a:pt x="351" y="792"/>
                    <a:pt x="356" y="789"/>
                  </a:cubicBezTo>
                  <a:cubicBezTo>
                    <a:pt x="355" y="800"/>
                    <a:pt x="348" y="813"/>
                    <a:pt x="341" y="821"/>
                  </a:cubicBezTo>
                  <a:cubicBezTo>
                    <a:pt x="336" y="826"/>
                    <a:pt x="314" y="844"/>
                    <a:pt x="305" y="849"/>
                  </a:cubicBezTo>
                  <a:cubicBezTo>
                    <a:pt x="307" y="849"/>
                    <a:pt x="310" y="848"/>
                    <a:pt x="312" y="848"/>
                  </a:cubicBezTo>
                  <a:cubicBezTo>
                    <a:pt x="316" y="848"/>
                    <a:pt x="317" y="850"/>
                    <a:pt x="318" y="853"/>
                  </a:cubicBezTo>
                  <a:cubicBezTo>
                    <a:pt x="325" y="849"/>
                    <a:pt x="340" y="837"/>
                    <a:pt x="348" y="828"/>
                  </a:cubicBezTo>
                  <a:cubicBezTo>
                    <a:pt x="360" y="814"/>
                    <a:pt x="366" y="799"/>
                    <a:pt x="366" y="783"/>
                  </a:cubicBezTo>
                  <a:cubicBezTo>
                    <a:pt x="370" y="781"/>
                    <a:pt x="374" y="777"/>
                    <a:pt x="379" y="773"/>
                  </a:cubicBezTo>
                  <a:cubicBezTo>
                    <a:pt x="393" y="760"/>
                    <a:pt x="397" y="743"/>
                    <a:pt x="397" y="719"/>
                  </a:cubicBezTo>
                  <a:cubicBezTo>
                    <a:pt x="401" y="716"/>
                    <a:pt x="404" y="712"/>
                    <a:pt x="406" y="707"/>
                  </a:cubicBezTo>
                  <a:cubicBezTo>
                    <a:pt x="414" y="695"/>
                    <a:pt x="423" y="663"/>
                    <a:pt x="418" y="644"/>
                  </a:cubicBezTo>
                  <a:cubicBezTo>
                    <a:pt x="434" y="623"/>
                    <a:pt x="444" y="592"/>
                    <a:pt x="435" y="568"/>
                  </a:cubicBezTo>
                  <a:cubicBezTo>
                    <a:pt x="444" y="548"/>
                    <a:pt x="448" y="525"/>
                    <a:pt x="436" y="501"/>
                  </a:cubicBezTo>
                  <a:cubicBezTo>
                    <a:pt x="437" y="499"/>
                    <a:pt x="438" y="497"/>
                    <a:pt x="438" y="495"/>
                  </a:cubicBezTo>
                  <a:cubicBezTo>
                    <a:pt x="442" y="483"/>
                    <a:pt x="442" y="455"/>
                    <a:pt x="434" y="445"/>
                  </a:cubicBezTo>
                  <a:cubicBezTo>
                    <a:pt x="427" y="448"/>
                    <a:pt x="422" y="461"/>
                    <a:pt x="407" y="470"/>
                  </a:cubicBezTo>
                  <a:cubicBezTo>
                    <a:pt x="396" y="478"/>
                    <a:pt x="384" y="487"/>
                    <a:pt x="373" y="495"/>
                  </a:cubicBezTo>
                  <a:cubicBezTo>
                    <a:pt x="368" y="498"/>
                    <a:pt x="364" y="501"/>
                    <a:pt x="361" y="504"/>
                  </a:cubicBezTo>
                  <a:cubicBezTo>
                    <a:pt x="360" y="488"/>
                    <a:pt x="359" y="472"/>
                    <a:pt x="354" y="460"/>
                  </a:cubicBezTo>
                  <a:cubicBezTo>
                    <a:pt x="342" y="432"/>
                    <a:pt x="335" y="416"/>
                    <a:pt x="321" y="391"/>
                  </a:cubicBezTo>
                  <a:cubicBezTo>
                    <a:pt x="308" y="371"/>
                    <a:pt x="289" y="339"/>
                    <a:pt x="271" y="323"/>
                  </a:cubicBezTo>
                  <a:cubicBezTo>
                    <a:pt x="284" y="316"/>
                    <a:pt x="302" y="312"/>
                    <a:pt x="319" y="320"/>
                  </a:cubicBezTo>
                  <a:cubicBezTo>
                    <a:pt x="334" y="327"/>
                    <a:pt x="340" y="346"/>
                    <a:pt x="338" y="360"/>
                  </a:cubicBezTo>
                  <a:cubicBezTo>
                    <a:pt x="360" y="354"/>
                    <a:pt x="379" y="320"/>
                    <a:pt x="373" y="304"/>
                  </a:cubicBezTo>
                  <a:cubicBezTo>
                    <a:pt x="370" y="296"/>
                    <a:pt x="365" y="289"/>
                    <a:pt x="360" y="284"/>
                  </a:cubicBezTo>
                  <a:cubicBezTo>
                    <a:pt x="360" y="284"/>
                    <a:pt x="360" y="284"/>
                    <a:pt x="360" y="284"/>
                  </a:cubicBezTo>
                  <a:cubicBezTo>
                    <a:pt x="375" y="277"/>
                    <a:pt x="395" y="254"/>
                    <a:pt x="394" y="213"/>
                  </a:cubicBezTo>
                  <a:cubicBezTo>
                    <a:pt x="396" y="210"/>
                    <a:pt x="397" y="207"/>
                    <a:pt x="399" y="203"/>
                  </a:cubicBezTo>
                  <a:cubicBezTo>
                    <a:pt x="402" y="195"/>
                    <a:pt x="404" y="184"/>
                    <a:pt x="405" y="175"/>
                  </a:cubicBezTo>
                  <a:cubicBezTo>
                    <a:pt x="406" y="168"/>
                    <a:pt x="403" y="150"/>
                    <a:pt x="402" y="142"/>
                  </a:cubicBezTo>
                  <a:cubicBezTo>
                    <a:pt x="403" y="137"/>
                    <a:pt x="405" y="132"/>
                    <a:pt x="405" y="129"/>
                  </a:cubicBezTo>
                  <a:cubicBezTo>
                    <a:pt x="408" y="109"/>
                    <a:pt x="406" y="85"/>
                    <a:pt x="390" y="67"/>
                  </a:cubicBezTo>
                  <a:cubicBezTo>
                    <a:pt x="390" y="66"/>
                    <a:pt x="390" y="64"/>
                    <a:pt x="390" y="63"/>
                  </a:cubicBezTo>
                  <a:cubicBezTo>
                    <a:pt x="390" y="36"/>
                    <a:pt x="383" y="10"/>
                    <a:pt x="363" y="0"/>
                  </a:cubicBezTo>
                  <a:cubicBezTo>
                    <a:pt x="363" y="48"/>
                    <a:pt x="326" y="71"/>
                    <a:pt x="316" y="117"/>
                  </a:cubicBezTo>
                  <a:cubicBezTo>
                    <a:pt x="306" y="100"/>
                    <a:pt x="285" y="89"/>
                    <a:pt x="264" y="98"/>
                  </a:cubicBezTo>
                  <a:cubicBezTo>
                    <a:pt x="248" y="104"/>
                    <a:pt x="240" y="111"/>
                    <a:pt x="232" y="129"/>
                  </a:cubicBezTo>
                  <a:cubicBezTo>
                    <a:pt x="226" y="142"/>
                    <a:pt x="240" y="138"/>
                    <a:pt x="247" y="137"/>
                  </a:cubicBezTo>
                  <a:cubicBezTo>
                    <a:pt x="294" y="131"/>
                    <a:pt x="278" y="194"/>
                    <a:pt x="274" y="202"/>
                  </a:cubicBezTo>
                  <a:cubicBezTo>
                    <a:pt x="265" y="220"/>
                    <a:pt x="259" y="230"/>
                    <a:pt x="238" y="250"/>
                  </a:cubicBezTo>
                  <a:cubicBezTo>
                    <a:pt x="234" y="255"/>
                    <a:pt x="227" y="261"/>
                    <a:pt x="220" y="268"/>
                  </a:cubicBezTo>
                  <a:cubicBezTo>
                    <a:pt x="200" y="247"/>
                    <a:pt x="176" y="209"/>
                    <a:pt x="175" y="176"/>
                  </a:cubicBezTo>
                  <a:cubicBezTo>
                    <a:pt x="175" y="163"/>
                    <a:pt x="178" y="154"/>
                    <a:pt x="185" y="147"/>
                  </a:cubicBezTo>
                  <a:cubicBezTo>
                    <a:pt x="198" y="133"/>
                    <a:pt x="214" y="150"/>
                    <a:pt x="219" y="148"/>
                  </a:cubicBezTo>
                  <a:cubicBezTo>
                    <a:pt x="214" y="138"/>
                    <a:pt x="211" y="113"/>
                    <a:pt x="181" y="107"/>
                  </a:cubicBezTo>
                  <a:cubicBezTo>
                    <a:pt x="162" y="103"/>
                    <a:pt x="147" y="110"/>
                    <a:pt x="137" y="121"/>
                  </a:cubicBezTo>
                  <a:cubicBezTo>
                    <a:pt x="135" y="125"/>
                    <a:pt x="131" y="129"/>
                    <a:pt x="129" y="134"/>
                  </a:cubicBezTo>
                  <a:cubicBezTo>
                    <a:pt x="128" y="130"/>
                    <a:pt x="128" y="127"/>
                    <a:pt x="128" y="125"/>
                  </a:cubicBezTo>
                  <a:cubicBezTo>
                    <a:pt x="126" y="108"/>
                    <a:pt x="116" y="91"/>
                    <a:pt x="112" y="78"/>
                  </a:cubicBezTo>
                  <a:cubicBezTo>
                    <a:pt x="110" y="68"/>
                    <a:pt x="107" y="56"/>
                    <a:pt x="108" y="44"/>
                  </a:cubicBezTo>
                  <a:cubicBezTo>
                    <a:pt x="108" y="34"/>
                    <a:pt x="108" y="12"/>
                    <a:pt x="113" y="1"/>
                  </a:cubicBezTo>
                  <a:cubicBezTo>
                    <a:pt x="95" y="13"/>
                    <a:pt x="83" y="25"/>
                    <a:pt x="76" y="52"/>
                  </a:cubicBezTo>
                  <a:cubicBezTo>
                    <a:pt x="58" y="69"/>
                    <a:pt x="43" y="97"/>
                    <a:pt x="46" y="128"/>
                  </a:cubicBezTo>
                  <a:cubicBezTo>
                    <a:pt x="47" y="131"/>
                    <a:pt x="48" y="134"/>
                    <a:pt x="49" y="137"/>
                  </a:cubicBezTo>
                  <a:cubicBezTo>
                    <a:pt x="36" y="153"/>
                    <a:pt x="38" y="185"/>
                    <a:pt x="44" y="200"/>
                  </a:cubicBezTo>
                  <a:cubicBezTo>
                    <a:pt x="46" y="204"/>
                    <a:pt x="48" y="208"/>
                    <a:pt x="51" y="212"/>
                  </a:cubicBezTo>
                  <a:cubicBezTo>
                    <a:pt x="46" y="232"/>
                    <a:pt x="49" y="243"/>
                    <a:pt x="52" y="254"/>
                  </a:cubicBezTo>
                  <a:cubicBezTo>
                    <a:pt x="54" y="262"/>
                    <a:pt x="63" y="272"/>
                    <a:pt x="74" y="278"/>
                  </a:cubicBezTo>
                  <a:cubicBezTo>
                    <a:pt x="55" y="283"/>
                    <a:pt x="52" y="296"/>
                    <a:pt x="53" y="314"/>
                  </a:cubicBezTo>
                  <a:cubicBezTo>
                    <a:pt x="54" y="322"/>
                    <a:pt x="60" y="335"/>
                    <a:pt x="67" y="343"/>
                  </a:cubicBezTo>
                  <a:cubicBezTo>
                    <a:pt x="70" y="346"/>
                    <a:pt x="90" y="363"/>
                    <a:pt x="90" y="358"/>
                  </a:cubicBezTo>
                  <a:cubicBezTo>
                    <a:pt x="90" y="346"/>
                    <a:pt x="87" y="330"/>
                    <a:pt x="102" y="322"/>
                  </a:cubicBezTo>
                  <a:cubicBezTo>
                    <a:pt x="109" y="319"/>
                    <a:pt x="125" y="319"/>
                    <a:pt x="133" y="321"/>
                  </a:cubicBezTo>
                  <a:cubicBezTo>
                    <a:pt x="143" y="324"/>
                    <a:pt x="155" y="334"/>
                    <a:pt x="160" y="338"/>
                  </a:cubicBezTo>
                  <a:cubicBezTo>
                    <a:pt x="145" y="358"/>
                    <a:pt x="128" y="382"/>
                    <a:pt x="112" y="410"/>
                  </a:cubicBezTo>
                  <a:cubicBezTo>
                    <a:pt x="103" y="425"/>
                    <a:pt x="81" y="475"/>
                    <a:pt x="76" y="505"/>
                  </a:cubicBezTo>
                  <a:cubicBezTo>
                    <a:pt x="75" y="505"/>
                    <a:pt x="75" y="505"/>
                    <a:pt x="75" y="505"/>
                  </a:cubicBezTo>
                  <a:cubicBezTo>
                    <a:pt x="62" y="490"/>
                    <a:pt x="55" y="491"/>
                    <a:pt x="38" y="483"/>
                  </a:cubicBezTo>
                  <a:cubicBezTo>
                    <a:pt x="16" y="472"/>
                    <a:pt x="19" y="462"/>
                    <a:pt x="12" y="461"/>
                  </a:cubicBezTo>
                  <a:cubicBezTo>
                    <a:pt x="7" y="485"/>
                    <a:pt x="0" y="500"/>
                    <a:pt x="8" y="525"/>
                  </a:cubicBezTo>
                  <a:cubicBezTo>
                    <a:pt x="9" y="528"/>
                    <a:pt x="10" y="531"/>
                    <a:pt x="12" y="534"/>
                  </a:cubicBezTo>
                  <a:cubicBezTo>
                    <a:pt x="8" y="541"/>
                    <a:pt x="6" y="553"/>
                    <a:pt x="5" y="561"/>
                  </a:cubicBezTo>
                  <a:cubicBezTo>
                    <a:pt x="5" y="573"/>
                    <a:pt x="11" y="586"/>
                    <a:pt x="18" y="596"/>
                  </a:cubicBezTo>
                  <a:cubicBezTo>
                    <a:pt x="15" y="606"/>
                    <a:pt x="12" y="620"/>
                    <a:pt x="14" y="631"/>
                  </a:cubicBezTo>
                  <a:cubicBezTo>
                    <a:pt x="17" y="642"/>
                    <a:pt x="20" y="649"/>
                    <a:pt x="26" y="656"/>
                  </a:cubicBezTo>
                  <a:cubicBezTo>
                    <a:pt x="27" y="657"/>
                    <a:pt x="30" y="659"/>
                    <a:pt x="32" y="660"/>
                  </a:cubicBezTo>
                  <a:cubicBezTo>
                    <a:pt x="31" y="672"/>
                    <a:pt x="31" y="681"/>
                    <a:pt x="32" y="689"/>
                  </a:cubicBezTo>
                  <a:cubicBezTo>
                    <a:pt x="33" y="695"/>
                    <a:pt x="34" y="700"/>
                    <a:pt x="35" y="704"/>
                  </a:cubicBezTo>
                  <a:cubicBezTo>
                    <a:pt x="39" y="717"/>
                    <a:pt x="44" y="724"/>
                    <a:pt x="54" y="731"/>
                  </a:cubicBezTo>
                  <a:cubicBezTo>
                    <a:pt x="53" y="744"/>
                    <a:pt x="54" y="753"/>
                    <a:pt x="57" y="761"/>
                  </a:cubicBezTo>
                  <a:cubicBezTo>
                    <a:pt x="65" y="780"/>
                    <a:pt x="75" y="794"/>
                    <a:pt x="82" y="799"/>
                  </a:cubicBezTo>
                  <a:cubicBezTo>
                    <a:pt x="83" y="799"/>
                    <a:pt x="84" y="800"/>
                    <a:pt x="85" y="800"/>
                  </a:cubicBezTo>
                  <a:cubicBezTo>
                    <a:pt x="88" y="812"/>
                    <a:pt x="93" y="823"/>
                    <a:pt x="100" y="831"/>
                  </a:cubicBezTo>
                  <a:cubicBezTo>
                    <a:pt x="107" y="840"/>
                    <a:pt x="112" y="846"/>
                    <a:pt x="121" y="852"/>
                  </a:cubicBezTo>
                  <a:cubicBezTo>
                    <a:pt x="123" y="853"/>
                    <a:pt x="132" y="858"/>
                    <a:pt x="137" y="860"/>
                  </a:cubicBezTo>
                  <a:cubicBezTo>
                    <a:pt x="135" y="854"/>
                    <a:pt x="134" y="849"/>
                    <a:pt x="136" y="849"/>
                  </a:cubicBezTo>
                  <a:close/>
                  <a:moveTo>
                    <a:pt x="288" y="569"/>
                  </a:moveTo>
                  <a:cubicBezTo>
                    <a:pt x="289" y="614"/>
                    <a:pt x="282" y="645"/>
                    <a:pt x="276" y="680"/>
                  </a:cubicBezTo>
                  <a:cubicBezTo>
                    <a:pt x="274" y="695"/>
                    <a:pt x="268" y="734"/>
                    <a:pt x="261" y="751"/>
                  </a:cubicBezTo>
                  <a:cubicBezTo>
                    <a:pt x="261" y="751"/>
                    <a:pt x="261" y="751"/>
                    <a:pt x="261" y="751"/>
                  </a:cubicBezTo>
                  <a:cubicBezTo>
                    <a:pt x="261" y="724"/>
                    <a:pt x="248" y="688"/>
                    <a:pt x="232" y="669"/>
                  </a:cubicBezTo>
                  <a:cubicBezTo>
                    <a:pt x="215" y="650"/>
                    <a:pt x="213" y="649"/>
                    <a:pt x="212" y="675"/>
                  </a:cubicBezTo>
                  <a:cubicBezTo>
                    <a:pt x="211" y="697"/>
                    <a:pt x="195" y="722"/>
                    <a:pt x="188" y="747"/>
                  </a:cubicBezTo>
                  <a:cubicBezTo>
                    <a:pt x="187" y="748"/>
                    <a:pt x="187" y="748"/>
                    <a:pt x="187" y="749"/>
                  </a:cubicBezTo>
                  <a:cubicBezTo>
                    <a:pt x="150" y="663"/>
                    <a:pt x="139" y="629"/>
                    <a:pt x="135" y="603"/>
                  </a:cubicBezTo>
                  <a:cubicBezTo>
                    <a:pt x="135" y="596"/>
                    <a:pt x="133" y="582"/>
                    <a:pt x="133" y="575"/>
                  </a:cubicBezTo>
                  <a:cubicBezTo>
                    <a:pt x="134" y="551"/>
                    <a:pt x="136" y="533"/>
                    <a:pt x="140" y="514"/>
                  </a:cubicBezTo>
                  <a:cubicBezTo>
                    <a:pt x="147" y="476"/>
                    <a:pt x="171" y="425"/>
                    <a:pt x="196" y="394"/>
                  </a:cubicBezTo>
                  <a:cubicBezTo>
                    <a:pt x="202" y="387"/>
                    <a:pt x="209" y="379"/>
                    <a:pt x="217" y="371"/>
                  </a:cubicBezTo>
                  <a:cubicBezTo>
                    <a:pt x="265" y="415"/>
                    <a:pt x="287" y="497"/>
                    <a:pt x="288" y="569"/>
                  </a:cubicBezTo>
                  <a:close/>
                  <a:moveTo>
                    <a:pt x="115" y="311"/>
                  </a:moveTo>
                  <a:cubicBezTo>
                    <a:pt x="99" y="311"/>
                    <a:pt x="77" y="322"/>
                    <a:pt x="79" y="342"/>
                  </a:cubicBezTo>
                  <a:cubicBezTo>
                    <a:pt x="70" y="341"/>
                    <a:pt x="63" y="321"/>
                    <a:pt x="63" y="313"/>
                  </a:cubicBezTo>
                  <a:cubicBezTo>
                    <a:pt x="63" y="303"/>
                    <a:pt x="67" y="293"/>
                    <a:pt x="80" y="287"/>
                  </a:cubicBezTo>
                  <a:cubicBezTo>
                    <a:pt x="82" y="286"/>
                    <a:pt x="90" y="287"/>
                    <a:pt x="98" y="287"/>
                  </a:cubicBezTo>
                  <a:cubicBezTo>
                    <a:pt x="99" y="287"/>
                    <a:pt x="101" y="288"/>
                    <a:pt x="102" y="288"/>
                  </a:cubicBezTo>
                  <a:cubicBezTo>
                    <a:pt x="105" y="288"/>
                    <a:pt x="106" y="288"/>
                    <a:pt x="109" y="287"/>
                  </a:cubicBezTo>
                  <a:cubicBezTo>
                    <a:pt x="111" y="287"/>
                    <a:pt x="111" y="285"/>
                    <a:pt x="109" y="284"/>
                  </a:cubicBezTo>
                  <a:cubicBezTo>
                    <a:pt x="105" y="282"/>
                    <a:pt x="98" y="281"/>
                    <a:pt x="92" y="279"/>
                  </a:cubicBezTo>
                  <a:cubicBezTo>
                    <a:pt x="82" y="276"/>
                    <a:pt x="70" y="265"/>
                    <a:pt x="65" y="256"/>
                  </a:cubicBezTo>
                  <a:cubicBezTo>
                    <a:pt x="60" y="248"/>
                    <a:pt x="55" y="233"/>
                    <a:pt x="60" y="222"/>
                  </a:cubicBezTo>
                  <a:cubicBezTo>
                    <a:pt x="70" y="232"/>
                    <a:pt x="83" y="240"/>
                    <a:pt x="95" y="245"/>
                  </a:cubicBezTo>
                  <a:cubicBezTo>
                    <a:pt x="100" y="247"/>
                    <a:pt x="104" y="241"/>
                    <a:pt x="94" y="236"/>
                  </a:cubicBezTo>
                  <a:cubicBezTo>
                    <a:pt x="82" y="230"/>
                    <a:pt x="65" y="220"/>
                    <a:pt x="56" y="203"/>
                  </a:cubicBezTo>
                  <a:cubicBezTo>
                    <a:pt x="45" y="183"/>
                    <a:pt x="47" y="163"/>
                    <a:pt x="54" y="152"/>
                  </a:cubicBezTo>
                  <a:cubicBezTo>
                    <a:pt x="66" y="178"/>
                    <a:pt x="88" y="205"/>
                    <a:pt x="95" y="208"/>
                  </a:cubicBezTo>
                  <a:cubicBezTo>
                    <a:pt x="97" y="208"/>
                    <a:pt x="98" y="206"/>
                    <a:pt x="98" y="204"/>
                  </a:cubicBezTo>
                  <a:cubicBezTo>
                    <a:pt x="93" y="198"/>
                    <a:pt x="74" y="170"/>
                    <a:pt x="68" y="161"/>
                  </a:cubicBezTo>
                  <a:cubicBezTo>
                    <a:pt x="65" y="156"/>
                    <a:pt x="58" y="138"/>
                    <a:pt x="57" y="132"/>
                  </a:cubicBezTo>
                  <a:cubicBezTo>
                    <a:pt x="56" y="125"/>
                    <a:pt x="56" y="118"/>
                    <a:pt x="57" y="110"/>
                  </a:cubicBezTo>
                  <a:cubicBezTo>
                    <a:pt x="58" y="97"/>
                    <a:pt x="64" y="88"/>
                    <a:pt x="72" y="76"/>
                  </a:cubicBezTo>
                  <a:cubicBezTo>
                    <a:pt x="70" y="94"/>
                    <a:pt x="73" y="107"/>
                    <a:pt x="77" y="125"/>
                  </a:cubicBezTo>
                  <a:cubicBezTo>
                    <a:pt x="78" y="133"/>
                    <a:pt x="91" y="160"/>
                    <a:pt x="98" y="164"/>
                  </a:cubicBezTo>
                  <a:cubicBezTo>
                    <a:pt x="99" y="164"/>
                    <a:pt x="100" y="163"/>
                    <a:pt x="100" y="160"/>
                  </a:cubicBezTo>
                  <a:cubicBezTo>
                    <a:pt x="100" y="159"/>
                    <a:pt x="99" y="156"/>
                    <a:pt x="98" y="154"/>
                  </a:cubicBezTo>
                  <a:cubicBezTo>
                    <a:pt x="94" y="144"/>
                    <a:pt x="86" y="126"/>
                    <a:pt x="84" y="117"/>
                  </a:cubicBezTo>
                  <a:cubicBezTo>
                    <a:pt x="82" y="102"/>
                    <a:pt x="80" y="72"/>
                    <a:pt x="84" y="56"/>
                  </a:cubicBezTo>
                  <a:cubicBezTo>
                    <a:pt x="86" y="50"/>
                    <a:pt x="92" y="32"/>
                    <a:pt x="99" y="25"/>
                  </a:cubicBezTo>
                  <a:cubicBezTo>
                    <a:pt x="100" y="56"/>
                    <a:pt x="98" y="76"/>
                    <a:pt x="111" y="106"/>
                  </a:cubicBezTo>
                  <a:cubicBezTo>
                    <a:pt x="117" y="120"/>
                    <a:pt x="119" y="125"/>
                    <a:pt x="122" y="139"/>
                  </a:cubicBezTo>
                  <a:cubicBezTo>
                    <a:pt x="124" y="148"/>
                    <a:pt x="126" y="166"/>
                    <a:pt x="127" y="173"/>
                  </a:cubicBezTo>
                  <a:cubicBezTo>
                    <a:pt x="128" y="183"/>
                    <a:pt x="135" y="177"/>
                    <a:pt x="134" y="175"/>
                  </a:cubicBezTo>
                  <a:cubicBezTo>
                    <a:pt x="134" y="172"/>
                    <a:pt x="132" y="163"/>
                    <a:pt x="131" y="154"/>
                  </a:cubicBezTo>
                  <a:cubicBezTo>
                    <a:pt x="138" y="139"/>
                    <a:pt x="142" y="130"/>
                    <a:pt x="158" y="120"/>
                  </a:cubicBezTo>
                  <a:cubicBezTo>
                    <a:pt x="172" y="110"/>
                    <a:pt x="198" y="118"/>
                    <a:pt x="203" y="135"/>
                  </a:cubicBezTo>
                  <a:cubicBezTo>
                    <a:pt x="173" y="125"/>
                    <a:pt x="162" y="166"/>
                    <a:pt x="167" y="190"/>
                  </a:cubicBezTo>
                  <a:cubicBezTo>
                    <a:pt x="171" y="205"/>
                    <a:pt x="180" y="221"/>
                    <a:pt x="183" y="234"/>
                  </a:cubicBezTo>
                  <a:cubicBezTo>
                    <a:pt x="184" y="240"/>
                    <a:pt x="203" y="268"/>
                    <a:pt x="211" y="277"/>
                  </a:cubicBezTo>
                  <a:cubicBezTo>
                    <a:pt x="198" y="291"/>
                    <a:pt x="183" y="308"/>
                    <a:pt x="166" y="330"/>
                  </a:cubicBezTo>
                  <a:cubicBezTo>
                    <a:pt x="152" y="318"/>
                    <a:pt x="131" y="311"/>
                    <a:pt x="115" y="31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" name="Google Shape;155;p1">
              <a:extLst>
                <a:ext uri="{FF2B5EF4-FFF2-40B4-BE49-F238E27FC236}">
                  <a16:creationId xmlns:a16="http://schemas.microsoft.com/office/drawing/2014/main" id="{4B8619AB-07A0-417A-94C9-24CD0E44D4CD}"/>
                </a:ext>
              </a:extLst>
            </p:cNvPr>
            <p:cNvSpPr/>
            <p:nvPr/>
          </p:nvSpPr>
          <p:spPr>
            <a:xfrm>
              <a:off x="14289088" y="2954338"/>
              <a:ext cx="23813" cy="33338"/>
            </a:xfrm>
            <a:custGeom>
              <a:avLst/>
              <a:gdLst/>
              <a:ahLst/>
              <a:cxnLst/>
              <a:rect l="l" t="t" r="r" b="b"/>
              <a:pathLst>
                <a:path w="43" h="61" extrusionOk="0">
                  <a:moveTo>
                    <a:pt x="7" y="17"/>
                  </a:moveTo>
                  <a:cubicBezTo>
                    <a:pt x="16" y="20"/>
                    <a:pt x="24" y="15"/>
                    <a:pt x="30" y="22"/>
                  </a:cubicBezTo>
                  <a:cubicBezTo>
                    <a:pt x="31" y="24"/>
                    <a:pt x="32" y="27"/>
                    <a:pt x="33" y="29"/>
                  </a:cubicBezTo>
                  <a:cubicBezTo>
                    <a:pt x="34" y="34"/>
                    <a:pt x="32" y="40"/>
                    <a:pt x="28" y="41"/>
                  </a:cubicBezTo>
                  <a:cubicBezTo>
                    <a:pt x="19" y="42"/>
                    <a:pt x="9" y="43"/>
                    <a:pt x="7" y="52"/>
                  </a:cubicBezTo>
                  <a:cubicBezTo>
                    <a:pt x="6" y="61"/>
                    <a:pt x="12" y="60"/>
                    <a:pt x="13" y="58"/>
                  </a:cubicBezTo>
                  <a:cubicBezTo>
                    <a:pt x="15" y="55"/>
                    <a:pt x="17" y="50"/>
                    <a:pt x="20" y="50"/>
                  </a:cubicBezTo>
                  <a:cubicBezTo>
                    <a:pt x="26" y="50"/>
                    <a:pt x="33" y="49"/>
                    <a:pt x="37" y="44"/>
                  </a:cubicBezTo>
                  <a:cubicBezTo>
                    <a:pt x="43" y="31"/>
                    <a:pt x="40" y="10"/>
                    <a:pt x="19" y="10"/>
                  </a:cubicBezTo>
                  <a:cubicBezTo>
                    <a:pt x="6" y="11"/>
                    <a:pt x="9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8"/>
                    <a:pt x="5" y="15"/>
                    <a:pt x="7" y="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156;p1">
              <a:extLst>
                <a:ext uri="{FF2B5EF4-FFF2-40B4-BE49-F238E27FC236}">
                  <a16:creationId xmlns:a16="http://schemas.microsoft.com/office/drawing/2014/main" id="{9A86EF3F-A871-4097-9331-000D7ED98857}"/>
                </a:ext>
              </a:extLst>
            </p:cNvPr>
            <p:cNvSpPr/>
            <p:nvPr/>
          </p:nvSpPr>
          <p:spPr>
            <a:xfrm>
              <a:off x="14279563" y="27654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7" h="9" extrusionOk="0">
                  <a:moveTo>
                    <a:pt x="5" y="0"/>
                  </a:moveTo>
                  <a:cubicBezTo>
                    <a:pt x="3" y="0"/>
                    <a:pt x="3" y="1"/>
                    <a:pt x="2" y="3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8"/>
                    <a:pt x="2" y="9"/>
                    <a:pt x="3" y="9"/>
                  </a:cubicBezTo>
                  <a:cubicBezTo>
                    <a:pt x="4" y="8"/>
                    <a:pt x="7" y="5"/>
                    <a:pt x="7" y="4"/>
                  </a:cubicBezTo>
                  <a:cubicBezTo>
                    <a:pt x="7" y="3"/>
                    <a:pt x="7" y="1"/>
                    <a:pt x="6" y="1"/>
                  </a:cubicBezTo>
                  <a:cubicBezTo>
                    <a:pt x="6" y="1"/>
                    <a:pt x="5" y="0"/>
                    <a:pt x="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157;p1">
              <a:extLst>
                <a:ext uri="{FF2B5EF4-FFF2-40B4-BE49-F238E27FC236}">
                  <a16:creationId xmlns:a16="http://schemas.microsoft.com/office/drawing/2014/main" id="{98F1CCAC-F852-4DAC-9E67-7033CE111337}"/>
                </a:ext>
              </a:extLst>
            </p:cNvPr>
            <p:cNvSpPr/>
            <p:nvPr/>
          </p:nvSpPr>
          <p:spPr>
            <a:xfrm>
              <a:off x="14031913" y="2670175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7" extrusionOk="0">
                  <a:moveTo>
                    <a:pt x="6" y="1"/>
                  </a:moveTo>
                  <a:cubicBezTo>
                    <a:pt x="5" y="1"/>
                    <a:pt x="5" y="0"/>
                    <a:pt x="4" y="0"/>
                  </a:cubicBezTo>
                  <a:cubicBezTo>
                    <a:pt x="3" y="0"/>
                    <a:pt x="1" y="3"/>
                    <a:pt x="1" y="4"/>
                  </a:cubicBezTo>
                  <a:cubicBezTo>
                    <a:pt x="0" y="5"/>
                    <a:pt x="1" y="6"/>
                    <a:pt x="2" y="7"/>
                  </a:cubicBezTo>
                  <a:cubicBezTo>
                    <a:pt x="3" y="7"/>
                    <a:pt x="7" y="6"/>
                    <a:pt x="7" y="5"/>
                  </a:cubicBezTo>
                  <a:cubicBezTo>
                    <a:pt x="8" y="4"/>
                    <a:pt x="8" y="3"/>
                    <a:pt x="8" y="3"/>
                  </a:cubicBezTo>
                  <a:cubicBezTo>
                    <a:pt x="7" y="2"/>
                    <a:pt x="6" y="2"/>
                    <a:pt x="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158;p1">
              <a:extLst>
                <a:ext uri="{FF2B5EF4-FFF2-40B4-BE49-F238E27FC236}">
                  <a16:creationId xmlns:a16="http://schemas.microsoft.com/office/drawing/2014/main" id="{60CE4BDC-9050-4E03-9E81-3C94AB126385}"/>
                </a:ext>
              </a:extLst>
            </p:cNvPr>
            <p:cNvSpPr/>
            <p:nvPr/>
          </p:nvSpPr>
          <p:spPr>
            <a:xfrm>
              <a:off x="14038263" y="2665413"/>
              <a:ext cx="4763" cy="6350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5" y="4"/>
                  </a:moveTo>
                  <a:cubicBezTo>
                    <a:pt x="4" y="3"/>
                    <a:pt x="4" y="0"/>
                    <a:pt x="3" y="0"/>
                  </a:cubicBezTo>
                  <a:cubicBezTo>
                    <a:pt x="1" y="0"/>
                    <a:pt x="0" y="4"/>
                    <a:pt x="1" y="5"/>
                  </a:cubicBezTo>
                  <a:cubicBezTo>
                    <a:pt x="1" y="7"/>
                    <a:pt x="3" y="11"/>
                    <a:pt x="5" y="10"/>
                  </a:cubicBezTo>
                  <a:cubicBezTo>
                    <a:pt x="6" y="9"/>
                    <a:pt x="7" y="8"/>
                    <a:pt x="8" y="7"/>
                  </a:cubicBezTo>
                  <a:cubicBezTo>
                    <a:pt x="8" y="5"/>
                    <a:pt x="5" y="5"/>
                    <a:pt x="5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159;p1">
              <a:extLst>
                <a:ext uri="{FF2B5EF4-FFF2-40B4-BE49-F238E27FC236}">
                  <a16:creationId xmlns:a16="http://schemas.microsoft.com/office/drawing/2014/main" id="{C66B194F-B5CA-4096-BE14-B81C0981867C}"/>
                </a:ext>
              </a:extLst>
            </p:cNvPr>
            <p:cNvSpPr/>
            <p:nvPr/>
          </p:nvSpPr>
          <p:spPr>
            <a:xfrm>
              <a:off x="14044613" y="2662238"/>
              <a:ext cx="6350" cy="3175"/>
            </a:xfrm>
            <a:custGeom>
              <a:avLst/>
              <a:gdLst/>
              <a:ahLst/>
              <a:cxnLst/>
              <a:rect l="l" t="t" r="r" b="b"/>
              <a:pathLst>
                <a:path w="10" h="8" extrusionOk="0">
                  <a:moveTo>
                    <a:pt x="7" y="4"/>
                  </a:moveTo>
                  <a:cubicBezTo>
                    <a:pt x="5" y="3"/>
                    <a:pt x="5" y="3"/>
                    <a:pt x="4" y="1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2" y="7"/>
                    <a:pt x="4" y="8"/>
                    <a:pt x="6" y="8"/>
                  </a:cubicBezTo>
                  <a:cubicBezTo>
                    <a:pt x="7" y="8"/>
                    <a:pt x="8" y="8"/>
                    <a:pt x="9" y="7"/>
                  </a:cubicBezTo>
                  <a:cubicBezTo>
                    <a:pt x="10" y="5"/>
                    <a:pt x="8" y="4"/>
                    <a:pt x="7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160;p1">
              <a:extLst>
                <a:ext uri="{FF2B5EF4-FFF2-40B4-BE49-F238E27FC236}">
                  <a16:creationId xmlns:a16="http://schemas.microsoft.com/office/drawing/2014/main" id="{79DF3D48-D3F2-4E5B-9BB1-343B8FF4E562}"/>
                </a:ext>
              </a:extLst>
            </p:cNvPr>
            <p:cNvSpPr/>
            <p:nvPr/>
          </p:nvSpPr>
          <p:spPr>
            <a:xfrm>
              <a:off x="14058900" y="2636838"/>
              <a:ext cx="34925" cy="23813"/>
            </a:xfrm>
            <a:custGeom>
              <a:avLst/>
              <a:gdLst/>
              <a:ahLst/>
              <a:cxnLst/>
              <a:rect l="l" t="t" r="r" b="b"/>
              <a:pathLst>
                <a:path w="64" h="44" extrusionOk="0">
                  <a:moveTo>
                    <a:pt x="63" y="3"/>
                  </a:moveTo>
                  <a:cubicBezTo>
                    <a:pt x="64" y="0"/>
                    <a:pt x="61" y="0"/>
                    <a:pt x="59" y="0"/>
                  </a:cubicBezTo>
                  <a:cubicBezTo>
                    <a:pt x="56" y="0"/>
                    <a:pt x="53" y="6"/>
                    <a:pt x="53" y="10"/>
                  </a:cubicBezTo>
                  <a:cubicBezTo>
                    <a:pt x="53" y="15"/>
                    <a:pt x="58" y="25"/>
                    <a:pt x="52" y="31"/>
                  </a:cubicBezTo>
                  <a:cubicBezTo>
                    <a:pt x="47" y="36"/>
                    <a:pt x="40" y="34"/>
                    <a:pt x="34" y="31"/>
                  </a:cubicBezTo>
                  <a:cubicBezTo>
                    <a:pt x="31" y="29"/>
                    <a:pt x="20" y="31"/>
                    <a:pt x="17" y="32"/>
                  </a:cubicBezTo>
                  <a:cubicBezTo>
                    <a:pt x="12" y="35"/>
                    <a:pt x="9" y="36"/>
                    <a:pt x="3" y="38"/>
                  </a:cubicBezTo>
                  <a:cubicBezTo>
                    <a:pt x="0" y="40"/>
                    <a:pt x="6" y="43"/>
                    <a:pt x="9" y="42"/>
                  </a:cubicBezTo>
                  <a:cubicBezTo>
                    <a:pt x="13" y="41"/>
                    <a:pt x="27" y="35"/>
                    <a:pt x="31" y="38"/>
                  </a:cubicBezTo>
                  <a:cubicBezTo>
                    <a:pt x="42" y="44"/>
                    <a:pt x="59" y="41"/>
                    <a:pt x="63" y="29"/>
                  </a:cubicBezTo>
                  <a:cubicBezTo>
                    <a:pt x="64" y="25"/>
                    <a:pt x="63" y="15"/>
                    <a:pt x="62" y="11"/>
                  </a:cubicBezTo>
                  <a:cubicBezTo>
                    <a:pt x="61" y="7"/>
                    <a:pt x="63" y="5"/>
                    <a:pt x="63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161;p1">
              <a:extLst>
                <a:ext uri="{FF2B5EF4-FFF2-40B4-BE49-F238E27FC236}">
                  <a16:creationId xmlns:a16="http://schemas.microsoft.com/office/drawing/2014/main" id="{2DB49725-0995-4526-8D37-F2E2708086EC}"/>
                </a:ext>
              </a:extLst>
            </p:cNvPr>
            <p:cNvSpPr/>
            <p:nvPr/>
          </p:nvSpPr>
          <p:spPr>
            <a:xfrm>
              <a:off x="14049375" y="2659063"/>
              <a:ext cx="6350" cy="3175"/>
            </a:xfrm>
            <a:custGeom>
              <a:avLst/>
              <a:gdLst/>
              <a:ahLst/>
              <a:cxnLst/>
              <a:rect l="l" t="t" r="r" b="b"/>
              <a:pathLst>
                <a:path w="12" h="7" extrusionOk="0">
                  <a:moveTo>
                    <a:pt x="7" y="2"/>
                  </a:moveTo>
                  <a:cubicBezTo>
                    <a:pt x="6" y="2"/>
                    <a:pt x="4" y="0"/>
                    <a:pt x="3" y="0"/>
                  </a:cubicBezTo>
                  <a:cubicBezTo>
                    <a:pt x="2" y="0"/>
                    <a:pt x="0" y="3"/>
                    <a:pt x="1" y="4"/>
                  </a:cubicBezTo>
                  <a:cubicBezTo>
                    <a:pt x="1" y="5"/>
                    <a:pt x="2" y="6"/>
                    <a:pt x="4" y="6"/>
                  </a:cubicBezTo>
                  <a:cubicBezTo>
                    <a:pt x="5" y="6"/>
                    <a:pt x="9" y="7"/>
                    <a:pt x="10" y="6"/>
                  </a:cubicBezTo>
                  <a:cubicBezTo>
                    <a:pt x="11" y="6"/>
                    <a:pt x="11" y="6"/>
                    <a:pt x="12" y="5"/>
                  </a:cubicBezTo>
                  <a:cubicBezTo>
                    <a:pt x="12" y="4"/>
                    <a:pt x="12" y="3"/>
                    <a:pt x="11" y="2"/>
                  </a:cubicBezTo>
                  <a:cubicBezTo>
                    <a:pt x="10" y="2"/>
                    <a:pt x="8" y="2"/>
                    <a:pt x="7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162;p1">
              <a:extLst>
                <a:ext uri="{FF2B5EF4-FFF2-40B4-BE49-F238E27FC236}">
                  <a16:creationId xmlns:a16="http://schemas.microsoft.com/office/drawing/2014/main" id="{8D08B600-EEDB-49F4-B8E3-C22CBA97DD2F}"/>
                </a:ext>
              </a:extLst>
            </p:cNvPr>
            <p:cNvSpPr/>
            <p:nvPr/>
          </p:nvSpPr>
          <p:spPr>
            <a:xfrm>
              <a:off x="13542963" y="3302000"/>
              <a:ext cx="77788" cy="74613"/>
            </a:xfrm>
            <a:custGeom>
              <a:avLst/>
              <a:gdLst/>
              <a:ahLst/>
              <a:cxnLst/>
              <a:rect l="l" t="t" r="r" b="b"/>
              <a:pathLst>
                <a:path w="139" h="133" extrusionOk="0">
                  <a:moveTo>
                    <a:pt x="66" y="0"/>
                  </a:moveTo>
                  <a:cubicBezTo>
                    <a:pt x="49" y="0"/>
                    <a:pt x="32" y="7"/>
                    <a:pt x="19" y="20"/>
                  </a:cubicBezTo>
                  <a:cubicBezTo>
                    <a:pt x="7" y="32"/>
                    <a:pt x="0" y="49"/>
                    <a:pt x="0" y="67"/>
                  </a:cubicBezTo>
                  <a:cubicBezTo>
                    <a:pt x="0" y="84"/>
                    <a:pt x="7" y="101"/>
                    <a:pt x="19" y="114"/>
                  </a:cubicBezTo>
                  <a:cubicBezTo>
                    <a:pt x="32" y="126"/>
                    <a:pt x="49" y="133"/>
                    <a:pt x="66" y="133"/>
                  </a:cubicBezTo>
                  <a:cubicBezTo>
                    <a:pt x="84" y="133"/>
                    <a:pt x="101" y="126"/>
                    <a:pt x="113" y="114"/>
                  </a:cubicBezTo>
                  <a:cubicBezTo>
                    <a:pt x="139" y="88"/>
                    <a:pt x="139" y="46"/>
                    <a:pt x="113" y="20"/>
                  </a:cubicBezTo>
                  <a:cubicBezTo>
                    <a:pt x="101" y="7"/>
                    <a:pt x="84" y="0"/>
                    <a:pt x="66" y="0"/>
                  </a:cubicBezTo>
                  <a:close/>
                  <a:moveTo>
                    <a:pt x="95" y="95"/>
                  </a:moveTo>
                  <a:cubicBezTo>
                    <a:pt x="87" y="103"/>
                    <a:pt x="77" y="107"/>
                    <a:pt x="66" y="107"/>
                  </a:cubicBezTo>
                  <a:cubicBezTo>
                    <a:pt x="56" y="107"/>
                    <a:pt x="46" y="103"/>
                    <a:pt x="38" y="95"/>
                  </a:cubicBezTo>
                  <a:cubicBezTo>
                    <a:pt x="30" y="88"/>
                    <a:pt x="26" y="77"/>
                    <a:pt x="26" y="67"/>
                  </a:cubicBezTo>
                  <a:cubicBezTo>
                    <a:pt x="26" y="56"/>
                    <a:pt x="30" y="46"/>
                    <a:pt x="38" y="38"/>
                  </a:cubicBezTo>
                  <a:cubicBezTo>
                    <a:pt x="46" y="31"/>
                    <a:pt x="56" y="27"/>
                    <a:pt x="66" y="27"/>
                  </a:cubicBezTo>
                  <a:cubicBezTo>
                    <a:pt x="77" y="27"/>
                    <a:pt x="87" y="31"/>
                    <a:pt x="95" y="38"/>
                  </a:cubicBezTo>
                  <a:cubicBezTo>
                    <a:pt x="110" y="54"/>
                    <a:pt x="110" y="79"/>
                    <a:pt x="95" y="9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163;p1">
              <a:extLst>
                <a:ext uri="{FF2B5EF4-FFF2-40B4-BE49-F238E27FC236}">
                  <a16:creationId xmlns:a16="http://schemas.microsoft.com/office/drawing/2014/main" id="{D50CD468-4DB8-4403-8320-032AFA0312BA}"/>
                </a:ext>
              </a:extLst>
            </p:cNvPr>
            <p:cNvSpPr/>
            <p:nvPr/>
          </p:nvSpPr>
          <p:spPr>
            <a:xfrm>
              <a:off x="13796963" y="3213100"/>
              <a:ext cx="784225" cy="311150"/>
            </a:xfrm>
            <a:custGeom>
              <a:avLst/>
              <a:gdLst/>
              <a:ahLst/>
              <a:cxnLst/>
              <a:rect l="l" t="t" r="r" b="b"/>
              <a:pathLst>
                <a:path w="1400" h="555" extrusionOk="0">
                  <a:moveTo>
                    <a:pt x="1364" y="347"/>
                  </a:moveTo>
                  <a:cubicBezTo>
                    <a:pt x="1253" y="393"/>
                    <a:pt x="1253" y="393"/>
                    <a:pt x="1253" y="393"/>
                  </a:cubicBezTo>
                  <a:cubicBezTo>
                    <a:pt x="1160" y="170"/>
                    <a:pt x="1160" y="170"/>
                    <a:pt x="1160" y="170"/>
                  </a:cubicBezTo>
                  <a:cubicBezTo>
                    <a:pt x="1234" y="137"/>
                    <a:pt x="1305" y="97"/>
                    <a:pt x="1372" y="48"/>
                  </a:cubicBezTo>
                  <a:cubicBezTo>
                    <a:pt x="1383" y="40"/>
                    <a:pt x="1385" y="26"/>
                    <a:pt x="1377" y="15"/>
                  </a:cubicBezTo>
                  <a:cubicBezTo>
                    <a:pt x="1370" y="4"/>
                    <a:pt x="1355" y="2"/>
                    <a:pt x="1344" y="10"/>
                  </a:cubicBezTo>
                  <a:cubicBezTo>
                    <a:pt x="1275" y="60"/>
                    <a:pt x="1201" y="102"/>
                    <a:pt x="1124" y="134"/>
                  </a:cubicBezTo>
                  <a:cubicBezTo>
                    <a:pt x="1122" y="134"/>
                    <a:pt x="1121" y="135"/>
                    <a:pt x="1120" y="135"/>
                  </a:cubicBezTo>
                  <a:cubicBezTo>
                    <a:pt x="1119" y="136"/>
                    <a:pt x="1118" y="136"/>
                    <a:pt x="1117" y="137"/>
                  </a:cubicBezTo>
                  <a:cubicBezTo>
                    <a:pt x="986" y="191"/>
                    <a:pt x="845" y="219"/>
                    <a:pt x="700" y="219"/>
                  </a:cubicBezTo>
                  <a:cubicBezTo>
                    <a:pt x="555" y="219"/>
                    <a:pt x="414" y="191"/>
                    <a:pt x="283" y="137"/>
                  </a:cubicBezTo>
                  <a:cubicBezTo>
                    <a:pt x="282" y="136"/>
                    <a:pt x="281" y="136"/>
                    <a:pt x="280" y="135"/>
                  </a:cubicBezTo>
                  <a:cubicBezTo>
                    <a:pt x="278" y="135"/>
                    <a:pt x="277" y="134"/>
                    <a:pt x="276" y="134"/>
                  </a:cubicBezTo>
                  <a:cubicBezTo>
                    <a:pt x="197" y="101"/>
                    <a:pt x="122" y="59"/>
                    <a:pt x="52" y="7"/>
                  </a:cubicBezTo>
                  <a:cubicBezTo>
                    <a:pt x="42" y="0"/>
                    <a:pt x="27" y="2"/>
                    <a:pt x="19" y="12"/>
                  </a:cubicBezTo>
                  <a:cubicBezTo>
                    <a:pt x="11" y="23"/>
                    <a:pt x="14" y="38"/>
                    <a:pt x="24" y="45"/>
                  </a:cubicBezTo>
                  <a:cubicBezTo>
                    <a:pt x="92" y="95"/>
                    <a:pt x="164" y="137"/>
                    <a:pt x="240" y="170"/>
                  </a:cubicBezTo>
                  <a:cubicBezTo>
                    <a:pt x="147" y="393"/>
                    <a:pt x="147" y="393"/>
                    <a:pt x="147" y="393"/>
                  </a:cubicBezTo>
                  <a:cubicBezTo>
                    <a:pt x="36" y="347"/>
                    <a:pt x="36" y="347"/>
                    <a:pt x="36" y="347"/>
                  </a:cubicBezTo>
                  <a:cubicBezTo>
                    <a:pt x="24" y="342"/>
                    <a:pt x="10" y="347"/>
                    <a:pt x="5" y="359"/>
                  </a:cubicBezTo>
                  <a:cubicBezTo>
                    <a:pt x="0" y="371"/>
                    <a:pt x="6" y="385"/>
                    <a:pt x="18" y="390"/>
                  </a:cubicBezTo>
                  <a:cubicBezTo>
                    <a:pt x="285" y="501"/>
                    <a:pt x="285" y="501"/>
                    <a:pt x="285" y="501"/>
                  </a:cubicBezTo>
                  <a:cubicBezTo>
                    <a:pt x="288" y="502"/>
                    <a:pt x="291" y="502"/>
                    <a:pt x="294" y="502"/>
                  </a:cubicBezTo>
                  <a:cubicBezTo>
                    <a:pt x="303" y="502"/>
                    <a:pt x="312" y="497"/>
                    <a:pt x="315" y="488"/>
                  </a:cubicBezTo>
                  <a:cubicBezTo>
                    <a:pt x="320" y="476"/>
                    <a:pt x="315" y="462"/>
                    <a:pt x="303" y="457"/>
                  </a:cubicBezTo>
                  <a:cubicBezTo>
                    <a:pt x="191" y="411"/>
                    <a:pt x="191" y="411"/>
                    <a:pt x="191" y="411"/>
                  </a:cubicBezTo>
                  <a:cubicBezTo>
                    <a:pt x="283" y="188"/>
                    <a:pt x="283" y="188"/>
                    <a:pt x="283" y="188"/>
                  </a:cubicBezTo>
                  <a:cubicBezTo>
                    <a:pt x="408" y="237"/>
                    <a:pt x="540" y="263"/>
                    <a:pt x="676" y="266"/>
                  </a:cubicBezTo>
                  <a:cubicBezTo>
                    <a:pt x="676" y="507"/>
                    <a:pt x="676" y="507"/>
                    <a:pt x="676" y="507"/>
                  </a:cubicBezTo>
                  <a:cubicBezTo>
                    <a:pt x="556" y="507"/>
                    <a:pt x="556" y="507"/>
                    <a:pt x="556" y="507"/>
                  </a:cubicBezTo>
                  <a:cubicBezTo>
                    <a:pt x="543" y="507"/>
                    <a:pt x="532" y="518"/>
                    <a:pt x="532" y="531"/>
                  </a:cubicBezTo>
                  <a:cubicBezTo>
                    <a:pt x="532" y="544"/>
                    <a:pt x="543" y="555"/>
                    <a:pt x="556" y="555"/>
                  </a:cubicBezTo>
                  <a:cubicBezTo>
                    <a:pt x="844" y="555"/>
                    <a:pt x="844" y="555"/>
                    <a:pt x="844" y="555"/>
                  </a:cubicBezTo>
                  <a:cubicBezTo>
                    <a:pt x="857" y="555"/>
                    <a:pt x="868" y="544"/>
                    <a:pt x="868" y="531"/>
                  </a:cubicBezTo>
                  <a:cubicBezTo>
                    <a:pt x="868" y="518"/>
                    <a:pt x="857" y="507"/>
                    <a:pt x="844" y="507"/>
                  </a:cubicBezTo>
                  <a:cubicBezTo>
                    <a:pt x="724" y="507"/>
                    <a:pt x="724" y="507"/>
                    <a:pt x="724" y="507"/>
                  </a:cubicBezTo>
                  <a:cubicBezTo>
                    <a:pt x="724" y="265"/>
                    <a:pt x="724" y="265"/>
                    <a:pt x="724" y="265"/>
                  </a:cubicBezTo>
                  <a:cubicBezTo>
                    <a:pt x="860" y="263"/>
                    <a:pt x="992" y="236"/>
                    <a:pt x="1117" y="188"/>
                  </a:cubicBezTo>
                  <a:cubicBezTo>
                    <a:pt x="1209" y="411"/>
                    <a:pt x="1209" y="411"/>
                    <a:pt x="1209" y="411"/>
                  </a:cubicBezTo>
                  <a:cubicBezTo>
                    <a:pt x="1097" y="457"/>
                    <a:pt x="1097" y="457"/>
                    <a:pt x="1097" y="457"/>
                  </a:cubicBezTo>
                  <a:cubicBezTo>
                    <a:pt x="1085" y="462"/>
                    <a:pt x="1080" y="476"/>
                    <a:pt x="1085" y="488"/>
                  </a:cubicBezTo>
                  <a:cubicBezTo>
                    <a:pt x="1088" y="497"/>
                    <a:pt x="1097" y="502"/>
                    <a:pt x="1106" y="502"/>
                  </a:cubicBezTo>
                  <a:cubicBezTo>
                    <a:pt x="1109" y="502"/>
                    <a:pt x="1112" y="502"/>
                    <a:pt x="1115" y="501"/>
                  </a:cubicBezTo>
                  <a:cubicBezTo>
                    <a:pt x="1382" y="390"/>
                    <a:pt x="1382" y="390"/>
                    <a:pt x="1382" y="390"/>
                  </a:cubicBezTo>
                  <a:cubicBezTo>
                    <a:pt x="1394" y="385"/>
                    <a:pt x="1400" y="371"/>
                    <a:pt x="1395" y="359"/>
                  </a:cubicBezTo>
                  <a:cubicBezTo>
                    <a:pt x="1390" y="347"/>
                    <a:pt x="1376" y="342"/>
                    <a:pt x="1364" y="34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164;p1">
              <a:extLst>
                <a:ext uri="{FF2B5EF4-FFF2-40B4-BE49-F238E27FC236}">
                  <a16:creationId xmlns:a16="http://schemas.microsoft.com/office/drawing/2014/main" id="{E282C528-03CD-4630-AACC-55D01A3D029E}"/>
                </a:ext>
              </a:extLst>
            </p:cNvPr>
            <p:cNvSpPr/>
            <p:nvPr/>
          </p:nvSpPr>
          <p:spPr>
            <a:xfrm>
              <a:off x="14216063" y="2730500"/>
              <a:ext cx="1588" cy="3175"/>
            </a:xfrm>
            <a:custGeom>
              <a:avLst/>
              <a:gdLst/>
              <a:ahLst/>
              <a:cxnLst/>
              <a:rect l="l" t="t" r="r" b="b"/>
              <a:pathLst>
                <a:path w="3" h="6" extrusionOk="0">
                  <a:moveTo>
                    <a:pt x="0" y="1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5"/>
                    <a:pt x="2" y="6"/>
                    <a:pt x="3" y="5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165;p1">
              <a:extLst>
                <a:ext uri="{FF2B5EF4-FFF2-40B4-BE49-F238E27FC236}">
                  <a16:creationId xmlns:a16="http://schemas.microsoft.com/office/drawing/2014/main" id="{5318CA8E-7608-42E5-859D-95EC3B65EB9C}"/>
                </a:ext>
              </a:extLst>
            </p:cNvPr>
            <p:cNvSpPr/>
            <p:nvPr/>
          </p:nvSpPr>
          <p:spPr>
            <a:xfrm>
              <a:off x="13796963" y="1917700"/>
              <a:ext cx="784225" cy="306388"/>
            </a:xfrm>
            <a:custGeom>
              <a:avLst/>
              <a:gdLst/>
              <a:ahLst/>
              <a:cxnLst/>
              <a:rect l="l" t="t" r="r" b="b"/>
              <a:pathLst>
                <a:path w="1400" h="548" extrusionOk="0">
                  <a:moveTo>
                    <a:pt x="27" y="209"/>
                  </a:moveTo>
                  <a:cubicBezTo>
                    <a:pt x="30" y="209"/>
                    <a:pt x="33" y="209"/>
                    <a:pt x="36" y="208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240" y="384"/>
                    <a:pt x="240" y="384"/>
                    <a:pt x="240" y="384"/>
                  </a:cubicBezTo>
                  <a:cubicBezTo>
                    <a:pt x="167" y="417"/>
                    <a:pt x="97" y="456"/>
                    <a:pt x="31" y="504"/>
                  </a:cubicBezTo>
                  <a:cubicBezTo>
                    <a:pt x="20" y="512"/>
                    <a:pt x="18" y="526"/>
                    <a:pt x="25" y="537"/>
                  </a:cubicBezTo>
                  <a:cubicBezTo>
                    <a:pt x="30" y="543"/>
                    <a:pt x="37" y="547"/>
                    <a:pt x="44" y="547"/>
                  </a:cubicBezTo>
                  <a:cubicBezTo>
                    <a:pt x="49" y="547"/>
                    <a:pt x="54" y="545"/>
                    <a:pt x="58" y="542"/>
                  </a:cubicBezTo>
                  <a:cubicBezTo>
                    <a:pt x="127" y="493"/>
                    <a:pt x="200" y="452"/>
                    <a:pt x="277" y="420"/>
                  </a:cubicBezTo>
                  <a:cubicBezTo>
                    <a:pt x="278" y="420"/>
                    <a:pt x="279" y="419"/>
                    <a:pt x="280" y="419"/>
                  </a:cubicBezTo>
                  <a:cubicBezTo>
                    <a:pt x="281" y="418"/>
                    <a:pt x="282" y="418"/>
                    <a:pt x="283" y="417"/>
                  </a:cubicBezTo>
                  <a:cubicBezTo>
                    <a:pt x="414" y="363"/>
                    <a:pt x="555" y="335"/>
                    <a:pt x="700" y="335"/>
                  </a:cubicBezTo>
                  <a:cubicBezTo>
                    <a:pt x="845" y="335"/>
                    <a:pt x="986" y="363"/>
                    <a:pt x="1117" y="417"/>
                  </a:cubicBezTo>
                  <a:cubicBezTo>
                    <a:pt x="1118" y="418"/>
                    <a:pt x="1119" y="418"/>
                    <a:pt x="1120" y="419"/>
                  </a:cubicBezTo>
                  <a:cubicBezTo>
                    <a:pt x="1121" y="419"/>
                    <a:pt x="1122" y="420"/>
                    <a:pt x="1123" y="420"/>
                  </a:cubicBezTo>
                  <a:cubicBezTo>
                    <a:pt x="1199" y="452"/>
                    <a:pt x="1271" y="492"/>
                    <a:pt x="1339" y="541"/>
                  </a:cubicBezTo>
                  <a:cubicBezTo>
                    <a:pt x="1350" y="548"/>
                    <a:pt x="1365" y="546"/>
                    <a:pt x="1372" y="535"/>
                  </a:cubicBezTo>
                  <a:cubicBezTo>
                    <a:pt x="1380" y="525"/>
                    <a:pt x="1377" y="510"/>
                    <a:pt x="1367" y="502"/>
                  </a:cubicBezTo>
                  <a:cubicBezTo>
                    <a:pt x="1302" y="455"/>
                    <a:pt x="1232" y="416"/>
                    <a:pt x="1160" y="384"/>
                  </a:cubicBezTo>
                  <a:cubicBezTo>
                    <a:pt x="1253" y="161"/>
                    <a:pt x="1253" y="161"/>
                    <a:pt x="1253" y="161"/>
                  </a:cubicBezTo>
                  <a:cubicBezTo>
                    <a:pt x="1364" y="208"/>
                    <a:pt x="1364" y="208"/>
                    <a:pt x="1364" y="208"/>
                  </a:cubicBezTo>
                  <a:cubicBezTo>
                    <a:pt x="1367" y="209"/>
                    <a:pt x="1370" y="209"/>
                    <a:pt x="1373" y="209"/>
                  </a:cubicBezTo>
                  <a:cubicBezTo>
                    <a:pt x="1382" y="209"/>
                    <a:pt x="1391" y="204"/>
                    <a:pt x="1395" y="195"/>
                  </a:cubicBezTo>
                  <a:cubicBezTo>
                    <a:pt x="1400" y="183"/>
                    <a:pt x="1394" y="169"/>
                    <a:pt x="1382" y="164"/>
                  </a:cubicBezTo>
                  <a:cubicBezTo>
                    <a:pt x="1249" y="109"/>
                    <a:pt x="1249" y="109"/>
                    <a:pt x="1249" y="109"/>
                  </a:cubicBezTo>
                  <a:cubicBezTo>
                    <a:pt x="1249" y="109"/>
                    <a:pt x="1249" y="109"/>
                    <a:pt x="1249" y="109"/>
                  </a:cubicBezTo>
                  <a:cubicBezTo>
                    <a:pt x="1249" y="109"/>
                    <a:pt x="1249" y="109"/>
                    <a:pt x="1249" y="109"/>
                  </a:cubicBezTo>
                  <a:cubicBezTo>
                    <a:pt x="1115" y="53"/>
                    <a:pt x="1115" y="53"/>
                    <a:pt x="1115" y="53"/>
                  </a:cubicBezTo>
                  <a:cubicBezTo>
                    <a:pt x="1103" y="49"/>
                    <a:pt x="1090" y="54"/>
                    <a:pt x="1085" y="66"/>
                  </a:cubicBezTo>
                  <a:cubicBezTo>
                    <a:pt x="1080" y="78"/>
                    <a:pt x="1085" y="92"/>
                    <a:pt x="1097" y="97"/>
                  </a:cubicBezTo>
                  <a:cubicBezTo>
                    <a:pt x="1209" y="143"/>
                    <a:pt x="1209" y="143"/>
                    <a:pt x="1209" y="143"/>
                  </a:cubicBezTo>
                  <a:cubicBezTo>
                    <a:pt x="1116" y="366"/>
                    <a:pt x="1116" y="366"/>
                    <a:pt x="1116" y="366"/>
                  </a:cubicBezTo>
                  <a:cubicBezTo>
                    <a:pt x="992" y="318"/>
                    <a:pt x="860" y="291"/>
                    <a:pt x="724" y="289"/>
                  </a:cubicBezTo>
                  <a:cubicBezTo>
                    <a:pt x="724" y="47"/>
                    <a:pt x="724" y="47"/>
                    <a:pt x="724" y="47"/>
                  </a:cubicBezTo>
                  <a:cubicBezTo>
                    <a:pt x="844" y="47"/>
                    <a:pt x="844" y="47"/>
                    <a:pt x="844" y="47"/>
                  </a:cubicBezTo>
                  <a:cubicBezTo>
                    <a:pt x="857" y="47"/>
                    <a:pt x="868" y="36"/>
                    <a:pt x="868" y="23"/>
                  </a:cubicBezTo>
                  <a:cubicBezTo>
                    <a:pt x="868" y="10"/>
                    <a:pt x="857" y="0"/>
                    <a:pt x="844" y="0"/>
                  </a:cubicBezTo>
                  <a:cubicBezTo>
                    <a:pt x="556" y="0"/>
                    <a:pt x="556" y="0"/>
                    <a:pt x="556" y="0"/>
                  </a:cubicBezTo>
                  <a:cubicBezTo>
                    <a:pt x="543" y="0"/>
                    <a:pt x="532" y="10"/>
                    <a:pt x="532" y="23"/>
                  </a:cubicBezTo>
                  <a:cubicBezTo>
                    <a:pt x="532" y="36"/>
                    <a:pt x="543" y="47"/>
                    <a:pt x="556" y="47"/>
                  </a:cubicBezTo>
                  <a:cubicBezTo>
                    <a:pt x="676" y="47"/>
                    <a:pt x="676" y="47"/>
                    <a:pt x="676" y="47"/>
                  </a:cubicBezTo>
                  <a:cubicBezTo>
                    <a:pt x="676" y="289"/>
                    <a:pt x="676" y="289"/>
                    <a:pt x="676" y="289"/>
                  </a:cubicBezTo>
                  <a:cubicBezTo>
                    <a:pt x="540" y="291"/>
                    <a:pt x="408" y="318"/>
                    <a:pt x="284" y="366"/>
                  </a:cubicBezTo>
                  <a:cubicBezTo>
                    <a:pt x="191" y="143"/>
                    <a:pt x="191" y="143"/>
                    <a:pt x="191" y="143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15" y="92"/>
                    <a:pt x="320" y="78"/>
                    <a:pt x="315" y="66"/>
                  </a:cubicBezTo>
                  <a:cubicBezTo>
                    <a:pt x="310" y="54"/>
                    <a:pt x="297" y="48"/>
                    <a:pt x="285" y="53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8" y="164"/>
                    <a:pt x="18" y="164"/>
                    <a:pt x="18" y="164"/>
                  </a:cubicBezTo>
                  <a:cubicBezTo>
                    <a:pt x="6" y="169"/>
                    <a:pt x="0" y="183"/>
                    <a:pt x="5" y="195"/>
                  </a:cubicBezTo>
                  <a:cubicBezTo>
                    <a:pt x="9" y="204"/>
                    <a:pt x="18" y="209"/>
                    <a:pt x="27" y="20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166;p1">
              <a:extLst>
                <a:ext uri="{FF2B5EF4-FFF2-40B4-BE49-F238E27FC236}">
                  <a16:creationId xmlns:a16="http://schemas.microsoft.com/office/drawing/2014/main" id="{560BD48F-EDBA-4B98-8331-BD4A63FFF58A}"/>
                </a:ext>
              </a:extLst>
            </p:cNvPr>
            <p:cNvSpPr/>
            <p:nvPr/>
          </p:nvSpPr>
          <p:spPr>
            <a:xfrm>
              <a:off x="13385800" y="2328863"/>
              <a:ext cx="309563" cy="782638"/>
            </a:xfrm>
            <a:custGeom>
              <a:avLst/>
              <a:gdLst/>
              <a:ahLst/>
              <a:cxnLst/>
              <a:rect l="l" t="t" r="r" b="b"/>
              <a:pathLst>
                <a:path w="553" h="1396" extrusionOk="0">
                  <a:moveTo>
                    <a:pt x="208" y="1364"/>
                  </a:moveTo>
                  <a:cubicBezTo>
                    <a:pt x="162" y="1252"/>
                    <a:pt x="162" y="1252"/>
                    <a:pt x="162" y="1252"/>
                  </a:cubicBezTo>
                  <a:cubicBezTo>
                    <a:pt x="385" y="1160"/>
                    <a:pt x="385" y="1160"/>
                    <a:pt x="385" y="1160"/>
                  </a:cubicBezTo>
                  <a:cubicBezTo>
                    <a:pt x="417" y="1232"/>
                    <a:pt x="456" y="1301"/>
                    <a:pt x="503" y="1366"/>
                  </a:cubicBezTo>
                  <a:cubicBezTo>
                    <a:pt x="507" y="1373"/>
                    <a:pt x="514" y="1376"/>
                    <a:pt x="522" y="1376"/>
                  </a:cubicBezTo>
                  <a:cubicBezTo>
                    <a:pt x="526" y="1376"/>
                    <a:pt x="531" y="1375"/>
                    <a:pt x="535" y="1372"/>
                  </a:cubicBezTo>
                  <a:cubicBezTo>
                    <a:pt x="546" y="1364"/>
                    <a:pt x="549" y="1349"/>
                    <a:pt x="541" y="1339"/>
                  </a:cubicBezTo>
                  <a:cubicBezTo>
                    <a:pt x="492" y="1271"/>
                    <a:pt x="452" y="1198"/>
                    <a:pt x="420" y="1123"/>
                  </a:cubicBezTo>
                  <a:cubicBezTo>
                    <a:pt x="420" y="1122"/>
                    <a:pt x="420" y="1121"/>
                    <a:pt x="419" y="1120"/>
                  </a:cubicBezTo>
                  <a:cubicBezTo>
                    <a:pt x="419" y="1119"/>
                    <a:pt x="418" y="1117"/>
                    <a:pt x="418" y="1116"/>
                  </a:cubicBezTo>
                  <a:cubicBezTo>
                    <a:pt x="364" y="985"/>
                    <a:pt x="336" y="844"/>
                    <a:pt x="336" y="700"/>
                  </a:cubicBezTo>
                  <a:cubicBezTo>
                    <a:pt x="336" y="555"/>
                    <a:pt x="364" y="414"/>
                    <a:pt x="418" y="283"/>
                  </a:cubicBezTo>
                  <a:cubicBezTo>
                    <a:pt x="418" y="282"/>
                    <a:pt x="419" y="281"/>
                    <a:pt x="419" y="279"/>
                  </a:cubicBezTo>
                  <a:cubicBezTo>
                    <a:pt x="420" y="278"/>
                    <a:pt x="420" y="277"/>
                    <a:pt x="421" y="276"/>
                  </a:cubicBezTo>
                  <a:cubicBezTo>
                    <a:pt x="453" y="198"/>
                    <a:pt x="495" y="124"/>
                    <a:pt x="545" y="54"/>
                  </a:cubicBezTo>
                  <a:cubicBezTo>
                    <a:pt x="553" y="44"/>
                    <a:pt x="551" y="29"/>
                    <a:pt x="540" y="21"/>
                  </a:cubicBezTo>
                  <a:cubicBezTo>
                    <a:pt x="530" y="14"/>
                    <a:pt x="515" y="16"/>
                    <a:pt x="507" y="26"/>
                  </a:cubicBezTo>
                  <a:cubicBezTo>
                    <a:pt x="458" y="94"/>
                    <a:pt x="418" y="165"/>
                    <a:pt x="385" y="239"/>
                  </a:cubicBezTo>
                  <a:cubicBezTo>
                    <a:pt x="162" y="147"/>
                    <a:pt x="162" y="147"/>
                    <a:pt x="162" y="147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13" y="23"/>
                    <a:pt x="207" y="10"/>
                    <a:pt x="195" y="5"/>
                  </a:cubicBezTo>
                  <a:cubicBezTo>
                    <a:pt x="183" y="0"/>
                    <a:pt x="169" y="5"/>
                    <a:pt x="164" y="17"/>
                  </a:cubicBezTo>
                  <a:cubicBezTo>
                    <a:pt x="54" y="284"/>
                    <a:pt x="54" y="284"/>
                    <a:pt x="54" y="284"/>
                  </a:cubicBezTo>
                  <a:cubicBezTo>
                    <a:pt x="49" y="296"/>
                    <a:pt x="55" y="310"/>
                    <a:pt x="67" y="315"/>
                  </a:cubicBezTo>
                  <a:cubicBezTo>
                    <a:pt x="70" y="316"/>
                    <a:pt x="73" y="317"/>
                    <a:pt x="76" y="317"/>
                  </a:cubicBezTo>
                  <a:cubicBezTo>
                    <a:pt x="85" y="317"/>
                    <a:pt x="94" y="311"/>
                    <a:pt x="98" y="302"/>
                  </a:cubicBezTo>
                  <a:cubicBezTo>
                    <a:pt x="144" y="191"/>
                    <a:pt x="144" y="191"/>
                    <a:pt x="144" y="191"/>
                  </a:cubicBezTo>
                  <a:cubicBezTo>
                    <a:pt x="367" y="283"/>
                    <a:pt x="367" y="283"/>
                    <a:pt x="367" y="283"/>
                  </a:cubicBezTo>
                  <a:cubicBezTo>
                    <a:pt x="318" y="407"/>
                    <a:pt x="292" y="540"/>
                    <a:pt x="289" y="676"/>
                  </a:cubicBezTo>
                  <a:cubicBezTo>
                    <a:pt x="47" y="676"/>
                    <a:pt x="47" y="676"/>
                    <a:pt x="47" y="676"/>
                  </a:cubicBezTo>
                  <a:cubicBezTo>
                    <a:pt x="47" y="555"/>
                    <a:pt x="47" y="555"/>
                    <a:pt x="47" y="555"/>
                  </a:cubicBezTo>
                  <a:cubicBezTo>
                    <a:pt x="47" y="542"/>
                    <a:pt x="37" y="532"/>
                    <a:pt x="24" y="532"/>
                  </a:cubicBezTo>
                  <a:cubicBezTo>
                    <a:pt x="11" y="532"/>
                    <a:pt x="0" y="542"/>
                    <a:pt x="0" y="555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57"/>
                    <a:pt x="11" y="867"/>
                    <a:pt x="24" y="867"/>
                  </a:cubicBezTo>
                  <a:cubicBezTo>
                    <a:pt x="37" y="867"/>
                    <a:pt x="47" y="857"/>
                    <a:pt x="47" y="844"/>
                  </a:cubicBezTo>
                  <a:cubicBezTo>
                    <a:pt x="47" y="723"/>
                    <a:pt x="47" y="723"/>
                    <a:pt x="47" y="723"/>
                  </a:cubicBezTo>
                  <a:cubicBezTo>
                    <a:pt x="289" y="723"/>
                    <a:pt x="289" y="723"/>
                    <a:pt x="289" y="723"/>
                  </a:cubicBezTo>
                  <a:cubicBezTo>
                    <a:pt x="292" y="859"/>
                    <a:pt x="318" y="992"/>
                    <a:pt x="367" y="1116"/>
                  </a:cubicBezTo>
                  <a:cubicBezTo>
                    <a:pt x="144" y="1208"/>
                    <a:pt x="144" y="1208"/>
                    <a:pt x="144" y="1208"/>
                  </a:cubicBezTo>
                  <a:cubicBezTo>
                    <a:pt x="98" y="1097"/>
                    <a:pt x="98" y="1097"/>
                    <a:pt x="98" y="1097"/>
                  </a:cubicBezTo>
                  <a:cubicBezTo>
                    <a:pt x="93" y="1085"/>
                    <a:pt x="79" y="1079"/>
                    <a:pt x="67" y="1084"/>
                  </a:cubicBezTo>
                  <a:cubicBezTo>
                    <a:pt x="55" y="1089"/>
                    <a:pt x="49" y="1103"/>
                    <a:pt x="54" y="1115"/>
                  </a:cubicBezTo>
                  <a:cubicBezTo>
                    <a:pt x="164" y="1382"/>
                    <a:pt x="164" y="1382"/>
                    <a:pt x="164" y="1382"/>
                  </a:cubicBezTo>
                  <a:cubicBezTo>
                    <a:pt x="168" y="1391"/>
                    <a:pt x="177" y="1396"/>
                    <a:pt x="186" y="1396"/>
                  </a:cubicBezTo>
                  <a:cubicBezTo>
                    <a:pt x="189" y="1396"/>
                    <a:pt x="192" y="1396"/>
                    <a:pt x="195" y="1394"/>
                  </a:cubicBezTo>
                  <a:cubicBezTo>
                    <a:pt x="207" y="1389"/>
                    <a:pt x="213" y="1376"/>
                    <a:pt x="208" y="136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167;p1">
              <a:extLst>
                <a:ext uri="{FF2B5EF4-FFF2-40B4-BE49-F238E27FC236}">
                  <a16:creationId xmlns:a16="http://schemas.microsoft.com/office/drawing/2014/main" id="{119F692F-E3A5-4E00-AA36-804D1DE64ACA}"/>
                </a:ext>
              </a:extLst>
            </p:cNvPr>
            <p:cNvSpPr/>
            <p:nvPr/>
          </p:nvSpPr>
          <p:spPr>
            <a:xfrm>
              <a:off x="14274800" y="2789238"/>
              <a:ext cx="14288" cy="92075"/>
            </a:xfrm>
            <a:custGeom>
              <a:avLst/>
              <a:gdLst/>
              <a:ahLst/>
              <a:cxnLst/>
              <a:rect l="l" t="t" r="r" b="b"/>
              <a:pathLst>
                <a:path w="25" h="163" extrusionOk="0">
                  <a:moveTo>
                    <a:pt x="7" y="0"/>
                  </a:moveTo>
                  <a:cubicBezTo>
                    <a:pt x="0" y="0"/>
                    <a:pt x="15" y="40"/>
                    <a:pt x="16" y="77"/>
                  </a:cubicBezTo>
                  <a:cubicBezTo>
                    <a:pt x="16" y="84"/>
                    <a:pt x="18" y="103"/>
                    <a:pt x="19" y="120"/>
                  </a:cubicBezTo>
                  <a:cubicBezTo>
                    <a:pt x="20" y="137"/>
                    <a:pt x="20" y="163"/>
                    <a:pt x="23" y="158"/>
                  </a:cubicBezTo>
                  <a:cubicBezTo>
                    <a:pt x="24" y="156"/>
                    <a:pt x="25" y="129"/>
                    <a:pt x="24" y="123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3" y="51"/>
                    <a:pt x="18" y="1"/>
                    <a:pt x="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168;p1">
              <a:extLst>
                <a:ext uri="{FF2B5EF4-FFF2-40B4-BE49-F238E27FC236}">
                  <a16:creationId xmlns:a16="http://schemas.microsoft.com/office/drawing/2014/main" id="{F0324884-0FE8-4AD2-8A69-69C00ADC1AD5}"/>
                </a:ext>
              </a:extLst>
            </p:cNvPr>
            <p:cNvSpPr/>
            <p:nvPr/>
          </p:nvSpPr>
          <p:spPr>
            <a:xfrm>
              <a:off x="14119225" y="2409825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6" extrusionOk="0">
                  <a:moveTo>
                    <a:pt x="0" y="3"/>
                  </a:moveTo>
                  <a:cubicBezTo>
                    <a:pt x="0" y="6"/>
                    <a:pt x="3" y="6"/>
                    <a:pt x="5" y="6"/>
                  </a:cubicBezTo>
                  <a:cubicBezTo>
                    <a:pt x="8" y="4"/>
                    <a:pt x="7" y="0"/>
                    <a:pt x="4" y="0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169;p1">
              <a:extLst>
                <a:ext uri="{FF2B5EF4-FFF2-40B4-BE49-F238E27FC236}">
                  <a16:creationId xmlns:a16="http://schemas.microsoft.com/office/drawing/2014/main" id="{E007023F-82B9-48D3-B262-9448E9CA17D7}"/>
                </a:ext>
              </a:extLst>
            </p:cNvPr>
            <p:cNvSpPr/>
            <p:nvPr/>
          </p:nvSpPr>
          <p:spPr>
            <a:xfrm>
              <a:off x="14023975" y="25114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7" h="9" extrusionOk="0">
                  <a:moveTo>
                    <a:pt x="1" y="2"/>
                  </a:move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4" y="9"/>
                    <a:pt x="6" y="6"/>
                    <a:pt x="6" y="4"/>
                  </a:cubicBezTo>
                  <a:cubicBezTo>
                    <a:pt x="7" y="1"/>
                    <a:pt x="4" y="0"/>
                    <a:pt x="1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170;p1">
              <a:extLst>
                <a:ext uri="{FF2B5EF4-FFF2-40B4-BE49-F238E27FC236}">
                  <a16:creationId xmlns:a16="http://schemas.microsoft.com/office/drawing/2014/main" id="{0EC843E9-992C-41B4-ACDF-A6E9295DE2EF}"/>
                </a:ext>
              </a:extLst>
            </p:cNvPr>
            <p:cNvSpPr/>
            <p:nvPr/>
          </p:nvSpPr>
          <p:spPr>
            <a:xfrm>
              <a:off x="14028738" y="2516188"/>
              <a:ext cx="4763" cy="6350"/>
            </a:xfrm>
            <a:custGeom>
              <a:avLst/>
              <a:gdLst/>
              <a:ahLst/>
              <a:cxnLst/>
              <a:rect l="l" t="t" r="r" b="b"/>
              <a:pathLst>
                <a:path w="9" h="11" extrusionOk="0">
                  <a:moveTo>
                    <a:pt x="2" y="2"/>
                  </a:moveTo>
                  <a:cubicBezTo>
                    <a:pt x="0" y="3"/>
                    <a:pt x="0" y="5"/>
                    <a:pt x="1" y="6"/>
                  </a:cubicBezTo>
                  <a:cubicBezTo>
                    <a:pt x="1" y="8"/>
                    <a:pt x="3" y="11"/>
                    <a:pt x="5" y="9"/>
                  </a:cubicBezTo>
                  <a:cubicBezTo>
                    <a:pt x="8" y="8"/>
                    <a:pt x="6" y="4"/>
                    <a:pt x="8" y="3"/>
                  </a:cubicBezTo>
                  <a:cubicBezTo>
                    <a:pt x="9" y="2"/>
                    <a:pt x="8" y="1"/>
                    <a:pt x="7" y="0"/>
                  </a:cubicBezTo>
                  <a:cubicBezTo>
                    <a:pt x="6" y="0"/>
                    <a:pt x="3" y="0"/>
                    <a:pt x="2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171;p1">
              <a:extLst>
                <a:ext uri="{FF2B5EF4-FFF2-40B4-BE49-F238E27FC236}">
                  <a16:creationId xmlns:a16="http://schemas.microsoft.com/office/drawing/2014/main" id="{BE694789-E387-4BCD-882B-8838E9BF2945}"/>
                </a:ext>
              </a:extLst>
            </p:cNvPr>
            <p:cNvSpPr/>
            <p:nvPr/>
          </p:nvSpPr>
          <p:spPr>
            <a:xfrm>
              <a:off x="14217650" y="2735263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6" h="6" extrusionOk="0">
                  <a:moveTo>
                    <a:pt x="1" y="2"/>
                  </a:move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5"/>
                    <a:pt x="5" y="4"/>
                  </a:cubicBezTo>
                  <a:cubicBezTo>
                    <a:pt x="5" y="3"/>
                    <a:pt x="6" y="1"/>
                    <a:pt x="4" y="0"/>
                  </a:cubicBezTo>
                  <a:cubicBezTo>
                    <a:pt x="3" y="0"/>
                    <a:pt x="2" y="1"/>
                    <a:pt x="1" y="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172;p1">
              <a:extLst>
                <a:ext uri="{FF2B5EF4-FFF2-40B4-BE49-F238E27FC236}">
                  <a16:creationId xmlns:a16="http://schemas.microsoft.com/office/drawing/2014/main" id="{9F2ADEDF-51D2-48B2-90CE-3049C9C3BF03}"/>
                </a:ext>
              </a:extLst>
            </p:cNvPr>
            <p:cNvSpPr/>
            <p:nvPr/>
          </p:nvSpPr>
          <p:spPr>
            <a:xfrm>
              <a:off x="14154150" y="2376488"/>
              <a:ext cx="15875" cy="12700"/>
            </a:xfrm>
            <a:custGeom>
              <a:avLst/>
              <a:gdLst/>
              <a:ahLst/>
              <a:cxnLst/>
              <a:rect l="l" t="t" r="r" b="b"/>
              <a:pathLst>
                <a:path w="29" h="21" extrusionOk="0">
                  <a:moveTo>
                    <a:pt x="13" y="21"/>
                  </a:moveTo>
                  <a:cubicBezTo>
                    <a:pt x="17" y="21"/>
                    <a:pt x="29" y="17"/>
                    <a:pt x="29" y="13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3"/>
                    <a:pt x="14" y="18"/>
                    <a:pt x="13" y="13"/>
                  </a:cubicBezTo>
                  <a:cubicBezTo>
                    <a:pt x="13" y="10"/>
                    <a:pt x="13" y="10"/>
                    <a:pt x="14" y="8"/>
                  </a:cubicBezTo>
                  <a:cubicBezTo>
                    <a:pt x="16" y="5"/>
                    <a:pt x="8" y="0"/>
                    <a:pt x="5" y="5"/>
                  </a:cubicBezTo>
                  <a:cubicBezTo>
                    <a:pt x="0" y="12"/>
                    <a:pt x="5" y="21"/>
                    <a:pt x="13" y="2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173;p1">
              <a:extLst>
                <a:ext uri="{FF2B5EF4-FFF2-40B4-BE49-F238E27FC236}">
                  <a16:creationId xmlns:a16="http://schemas.microsoft.com/office/drawing/2014/main" id="{5599B21A-90B4-4FD6-A7A9-8F0D0BCFF3A4}"/>
                </a:ext>
              </a:extLst>
            </p:cNvPr>
            <p:cNvSpPr/>
            <p:nvPr/>
          </p:nvSpPr>
          <p:spPr>
            <a:xfrm>
              <a:off x="14031913" y="2936875"/>
              <a:ext cx="4763" cy="4763"/>
            </a:xfrm>
            <a:custGeom>
              <a:avLst/>
              <a:gdLst/>
              <a:ahLst/>
              <a:cxnLst/>
              <a:rect l="l" t="t" r="r" b="b"/>
              <a:pathLst>
                <a:path w="9" h="7" extrusionOk="0">
                  <a:moveTo>
                    <a:pt x="4" y="1"/>
                  </a:moveTo>
                  <a:cubicBezTo>
                    <a:pt x="3" y="1"/>
                    <a:pt x="1" y="3"/>
                    <a:pt x="0" y="4"/>
                  </a:cubicBezTo>
                  <a:cubicBezTo>
                    <a:pt x="0" y="5"/>
                    <a:pt x="0" y="7"/>
                    <a:pt x="1" y="7"/>
                  </a:cubicBezTo>
                  <a:cubicBezTo>
                    <a:pt x="2" y="7"/>
                    <a:pt x="4" y="6"/>
                    <a:pt x="5" y="4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5" y="0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174;p1">
              <a:extLst>
                <a:ext uri="{FF2B5EF4-FFF2-40B4-BE49-F238E27FC236}">
                  <a16:creationId xmlns:a16="http://schemas.microsoft.com/office/drawing/2014/main" id="{7088B4D8-20DA-4274-B9BE-1BE2B70159EF}"/>
                </a:ext>
              </a:extLst>
            </p:cNvPr>
            <p:cNvSpPr/>
            <p:nvPr/>
          </p:nvSpPr>
          <p:spPr>
            <a:xfrm>
              <a:off x="14138275" y="2368550"/>
              <a:ext cx="61913" cy="33338"/>
            </a:xfrm>
            <a:custGeom>
              <a:avLst/>
              <a:gdLst/>
              <a:ahLst/>
              <a:cxnLst/>
              <a:rect l="l" t="t" r="r" b="b"/>
              <a:pathLst>
                <a:path w="109" h="59" extrusionOk="0">
                  <a:moveTo>
                    <a:pt x="86" y="16"/>
                  </a:moveTo>
                  <a:cubicBezTo>
                    <a:pt x="77" y="17"/>
                    <a:pt x="72" y="16"/>
                    <a:pt x="68" y="16"/>
                  </a:cubicBezTo>
                  <a:cubicBezTo>
                    <a:pt x="60" y="14"/>
                    <a:pt x="55" y="12"/>
                    <a:pt x="49" y="10"/>
                  </a:cubicBezTo>
                  <a:cubicBezTo>
                    <a:pt x="42" y="8"/>
                    <a:pt x="36" y="0"/>
                    <a:pt x="30" y="1"/>
                  </a:cubicBezTo>
                  <a:cubicBezTo>
                    <a:pt x="27" y="6"/>
                    <a:pt x="21" y="12"/>
                    <a:pt x="16" y="17"/>
                  </a:cubicBezTo>
                  <a:cubicBezTo>
                    <a:pt x="12" y="20"/>
                    <a:pt x="7" y="23"/>
                    <a:pt x="2" y="26"/>
                  </a:cubicBezTo>
                  <a:cubicBezTo>
                    <a:pt x="1" y="27"/>
                    <a:pt x="0" y="36"/>
                    <a:pt x="5" y="32"/>
                  </a:cubicBezTo>
                  <a:cubicBezTo>
                    <a:pt x="8" y="31"/>
                    <a:pt x="12" y="28"/>
                    <a:pt x="16" y="25"/>
                  </a:cubicBezTo>
                  <a:cubicBezTo>
                    <a:pt x="15" y="55"/>
                    <a:pt x="62" y="59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9" y="24"/>
                    <a:pt x="70" y="24"/>
                    <a:pt x="70" y="24"/>
                  </a:cubicBezTo>
                  <a:cubicBezTo>
                    <a:pt x="76" y="24"/>
                    <a:pt x="109" y="25"/>
                    <a:pt x="103" y="15"/>
                  </a:cubicBezTo>
                  <a:cubicBezTo>
                    <a:pt x="99" y="15"/>
                    <a:pt x="95" y="15"/>
                    <a:pt x="86" y="16"/>
                  </a:cubicBezTo>
                  <a:close/>
                  <a:moveTo>
                    <a:pt x="59" y="34"/>
                  </a:moveTo>
                  <a:cubicBezTo>
                    <a:pt x="56" y="37"/>
                    <a:pt x="53" y="38"/>
                    <a:pt x="48" y="40"/>
                  </a:cubicBezTo>
                  <a:cubicBezTo>
                    <a:pt x="44" y="40"/>
                    <a:pt x="42" y="41"/>
                    <a:pt x="37" y="40"/>
                  </a:cubicBezTo>
                  <a:cubicBezTo>
                    <a:pt x="33" y="39"/>
                    <a:pt x="29" y="38"/>
                    <a:pt x="26" y="35"/>
                  </a:cubicBezTo>
                  <a:cubicBezTo>
                    <a:pt x="24" y="33"/>
                    <a:pt x="23" y="31"/>
                    <a:pt x="22" y="27"/>
                  </a:cubicBezTo>
                  <a:cubicBezTo>
                    <a:pt x="22" y="25"/>
                    <a:pt x="22" y="23"/>
                    <a:pt x="22" y="20"/>
                  </a:cubicBezTo>
                  <a:cubicBezTo>
                    <a:pt x="27" y="16"/>
                    <a:pt x="32" y="9"/>
                    <a:pt x="32" y="9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0" y="17"/>
                    <a:pt x="52" y="21"/>
                    <a:pt x="61" y="23"/>
                  </a:cubicBezTo>
                  <a:cubicBezTo>
                    <a:pt x="61" y="28"/>
                    <a:pt x="61" y="32"/>
                    <a:pt x="59" y="3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175;p1">
              <a:extLst>
                <a:ext uri="{FF2B5EF4-FFF2-40B4-BE49-F238E27FC236}">
                  <a16:creationId xmlns:a16="http://schemas.microsoft.com/office/drawing/2014/main" id="{B67662B4-FF9F-4EDC-88BD-35E24246206D}"/>
                </a:ext>
              </a:extLst>
            </p:cNvPr>
            <p:cNvSpPr/>
            <p:nvPr/>
          </p:nvSpPr>
          <p:spPr>
            <a:xfrm>
              <a:off x="14019213" y="2506663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7" extrusionOk="0">
                  <a:moveTo>
                    <a:pt x="5" y="1"/>
                  </a:moveTo>
                  <a:cubicBezTo>
                    <a:pt x="4" y="1"/>
                    <a:pt x="1" y="3"/>
                    <a:pt x="1" y="4"/>
                  </a:cubicBezTo>
                  <a:cubicBezTo>
                    <a:pt x="0" y="4"/>
                    <a:pt x="0" y="6"/>
                    <a:pt x="1" y="6"/>
                  </a:cubicBezTo>
                  <a:cubicBezTo>
                    <a:pt x="3" y="7"/>
                    <a:pt x="5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0"/>
                    <a:pt x="7" y="0"/>
                    <a:pt x="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176;p1">
              <a:extLst>
                <a:ext uri="{FF2B5EF4-FFF2-40B4-BE49-F238E27FC236}">
                  <a16:creationId xmlns:a16="http://schemas.microsoft.com/office/drawing/2014/main" id="{87C79E98-3861-4994-A3E3-8072623B1609}"/>
                </a:ext>
              </a:extLst>
            </p:cNvPr>
            <p:cNvSpPr/>
            <p:nvPr/>
          </p:nvSpPr>
          <p:spPr>
            <a:xfrm>
              <a:off x="14033500" y="2520950"/>
              <a:ext cx="6350" cy="7938"/>
            </a:xfrm>
            <a:custGeom>
              <a:avLst/>
              <a:gdLst/>
              <a:ahLst/>
              <a:cxnLst/>
              <a:rect l="l" t="t" r="r" b="b"/>
              <a:pathLst>
                <a:path w="9" h="12" extrusionOk="0">
                  <a:moveTo>
                    <a:pt x="8" y="0"/>
                  </a:moveTo>
                  <a:cubicBezTo>
                    <a:pt x="6" y="1"/>
                    <a:pt x="4" y="1"/>
                    <a:pt x="3" y="2"/>
                  </a:cubicBezTo>
                  <a:cubicBezTo>
                    <a:pt x="0" y="6"/>
                    <a:pt x="0" y="11"/>
                    <a:pt x="3" y="12"/>
                  </a:cubicBezTo>
                  <a:cubicBezTo>
                    <a:pt x="7" y="12"/>
                    <a:pt x="6" y="8"/>
                    <a:pt x="6" y="7"/>
                  </a:cubicBezTo>
                  <a:cubicBezTo>
                    <a:pt x="6" y="6"/>
                    <a:pt x="8" y="4"/>
                    <a:pt x="9" y="3"/>
                  </a:cubicBezTo>
                  <a:cubicBezTo>
                    <a:pt x="9" y="3"/>
                    <a:pt x="9" y="0"/>
                    <a:pt x="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177;p1">
              <a:extLst>
                <a:ext uri="{FF2B5EF4-FFF2-40B4-BE49-F238E27FC236}">
                  <a16:creationId xmlns:a16="http://schemas.microsoft.com/office/drawing/2014/main" id="{91567598-CD2C-42BB-977A-17E41EC3D848}"/>
                </a:ext>
              </a:extLst>
            </p:cNvPr>
            <p:cNvSpPr/>
            <p:nvPr/>
          </p:nvSpPr>
          <p:spPr>
            <a:xfrm>
              <a:off x="14760575" y="3302000"/>
              <a:ext cx="77788" cy="74613"/>
            </a:xfrm>
            <a:custGeom>
              <a:avLst/>
              <a:gdLst/>
              <a:ahLst/>
              <a:cxnLst/>
              <a:rect l="l" t="t" r="r" b="b"/>
              <a:pathLst>
                <a:path w="140" h="133" extrusionOk="0">
                  <a:moveTo>
                    <a:pt x="67" y="0"/>
                  </a:moveTo>
                  <a:cubicBezTo>
                    <a:pt x="49" y="0"/>
                    <a:pt x="32" y="7"/>
                    <a:pt x="20" y="20"/>
                  </a:cubicBezTo>
                  <a:cubicBezTo>
                    <a:pt x="7" y="32"/>
                    <a:pt x="0" y="49"/>
                    <a:pt x="0" y="67"/>
                  </a:cubicBezTo>
                  <a:cubicBezTo>
                    <a:pt x="0" y="84"/>
                    <a:pt x="7" y="101"/>
                    <a:pt x="20" y="114"/>
                  </a:cubicBezTo>
                  <a:cubicBezTo>
                    <a:pt x="32" y="126"/>
                    <a:pt x="49" y="133"/>
                    <a:pt x="67" y="133"/>
                  </a:cubicBezTo>
                  <a:cubicBezTo>
                    <a:pt x="84" y="133"/>
                    <a:pt x="101" y="126"/>
                    <a:pt x="114" y="114"/>
                  </a:cubicBezTo>
                  <a:cubicBezTo>
                    <a:pt x="140" y="88"/>
                    <a:pt x="140" y="46"/>
                    <a:pt x="114" y="20"/>
                  </a:cubicBezTo>
                  <a:cubicBezTo>
                    <a:pt x="101" y="7"/>
                    <a:pt x="84" y="0"/>
                    <a:pt x="67" y="0"/>
                  </a:cubicBezTo>
                  <a:close/>
                  <a:moveTo>
                    <a:pt x="67" y="18"/>
                  </a:moveTo>
                  <a:cubicBezTo>
                    <a:pt x="71" y="18"/>
                    <a:pt x="75" y="19"/>
                    <a:pt x="79" y="20"/>
                  </a:cubicBezTo>
                  <a:cubicBezTo>
                    <a:pt x="75" y="19"/>
                    <a:pt x="71" y="18"/>
                    <a:pt x="67" y="18"/>
                  </a:cubicBezTo>
                  <a:close/>
                  <a:moveTo>
                    <a:pt x="67" y="116"/>
                  </a:moveTo>
                  <a:cubicBezTo>
                    <a:pt x="67" y="116"/>
                    <a:pt x="67" y="116"/>
                    <a:pt x="67" y="116"/>
                  </a:cubicBezTo>
                  <a:cubicBezTo>
                    <a:pt x="73" y="116"/>
                    <a:pt x="79" y="114"/>
                    <a:pt x="85" y="112"/>
                  </a:cubicBezTo>
                  <a:cubicBezTo>
                    <a:pt x="79" y="114"/>
                    <a:pt x="73" y="116"/>
                    <a:pt x="67" y="116"/>
                  </a:cubicBezTo>
                  <a:close/>
                  <a:moveTo>
                    <a:pt x="95" y="95"/>
                  </a:moveTo>
                  <a:cubicBezTo>
                    <a:pt x="87" y="103"/>
                    <a:pt x="77" y="107"/>
                    <a:pt x="67" y="107"/>
                  </a:cubicBezTo>
                  <a:cubicBezTo>
                    <a:pt x="56" y="107"/>
                    <a:pt x="46" y="103"/>
                    <a:pt x="38" y="95"/>
                  </a:cubicBezTo>
                  <a:cubicBezTo>
                    <a:pt x="31" y="88"/>
                    <a:pt x="26" y="77"/>
                    <a:pt x="26" y="67"/>
                  </a:cubicBezTo>
                  <a:cubicBezTo>
                    <a:pt x="26" y="56"/>
                    <a:pt x="31" y="46"/>
                    <a:pt x="38" y="38"/>
                  </a:cubicBezTo>
                  <a:cubicBezTo>
                    <a:pt x="46" y="31"/>
                    <a:pt x="56" y="27"/>
                    <a:pt x="67" y="27"/>
                  </a:cubicBezTo>
                  <a:cubicBezTo>
                    <a:pt x="77" y="27"/>
                    <a:pt x="87" y="31"/>
                    <a:pt x="95" y="38"/>
                  </a:cubicBezTo>
                  <a:cubicBezTo>
                    <a:pt x="111" y="54"/>
                    <a:pt x="111" y="79"/>
                    <a:pt x="95" y="9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178;p1">
              <a:extLst>
                <a:ext uri="{FF2B5EF4-FFF2-40B4-BE49-F238E27FC236}">
                  <a16:creationId xmlns:a16="http://schemas.microsoft.com/office/drawing/2014/main" id="{0A2176D2-876C-480B-B00E-A2A7E81A461F}"/>
                </a:ext>
              </a:extLst>
            </p:cNvPr>
            <p:cNvSpPr/>
            <p:nvPr/>
          </p:nvSpPr>
          <p:spPr>
            <a:xfrm>
              <a:off x="14038263" y="2932113"/>
              <a:ext cx="4763" cy="6350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2" y="7"/>
                  </a:moveTo>
                  <a:cubicBezTo>
                    <a:pt x="2" y="8"/>
                    <a:pt x="4" y="11"/>
                    <a:pt x="5" y="10"/>
                  </a:cubicBezTo>
                  <a:cubicBezTo>
                    <a:pt x="6" y="9"/>
                    <a:pt x="6" y="8"/>
                    <a:pt x="6" y="7"/>
                  </a:cubicBezTo>
                  <a:cubicBezTo>
                    <a:pt x="7" y="6"/>
                    <a:pt x="7" y="5"/>
                    <a:pt x="7" y="4"/>
                  </a:cubicBezTo>
                  <a:cubicBezTo>
                    <a:pt x="7" y="0"/>
                    <a:pt x="0" y="3"/>
                    <a:pt x="2" y="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179;p1">
              <a:extLst>
                <a:ext uri="{FF2B5EF4-FFF2-40B4-BE49-F238E27FC236}">
                  <a16:creationId xmlns:a16="http://schemas.microsoft.com/office/drawing/2014/main" id="{9C14B949-B67A-4A32-92DA-6F2F64C4DB82}"/>
                </a:ext>
              </a:extLst>
            </p:cNvPr>
            <p:cNvSpPr/>
            <p:nvPr/>
          </p:nvSpPr>
          <p:spPr>
            <a:xfrm>
              <a:off x="14681200" y="2328863"/>
              <a:ext cx="311150" cy="782638"/>
            </a:xfrm>
            <a:custGeom>
              <a:avLst/>
              <a:gdLst/>
              <a:ahLst/>
              <a:cxnLst/>
              <a:rect l="l" t="t" r="r" b="b"/>
              <a:pathLst>
                <a:path w="555" h="1396" extrusionOk="0">
                  <a:moveTo>
                    <a:pt x="531" y="532"/>
                  </a:moveTo>
                  <a:cubicBezTo>
                    <a:pt x="518" y="532"/>
                    <a:pt x="508" y="542"/>
                    <a:pt x="508" y="555"/>
                  </a:cubicBezTo>
                  <a:cubicBezTo>
                    <a:pt x="508" y="676"/>
                    <a:pt x="508" y="676"/>
                    <a:pt x="508" y="676"/>
                  </a:cubicBezTo>
                  <a:cubicBezTo>
                    <a:pt x="266" y="676"/>
                    <a:pt x="266" y="676"/>
                    <a:pt x="266" y="676"/>
                  </a:cubicBezTo>
                  <a:cubicBezTo>
                    <a:pt x="263" y="540"/>
                    <a:pt x="237" y="407"/>
                    <a:pt x="188" y="283"/>
                  </a:cubicBezTo>
                  <a:cubicBezTo>
                    <a:pt x="411" y="191"/>
                    <a:pt x="411" y="191"/>
                    <a:pt x="411" y="191"/>
                  </a:cubicBezTo>
                  <a:cubicBezTo>
                    <a:pt x="457" y="302"/>
                    <a:pt x="457" y="302"/>
                    <a:pt x="457" y="302"/>
                  </a:cubicBezTo>
                  <a:cubicBezTo>
                    <a:pt x="461" y="311"/>
                    <a:pt x="470" y="317"/>
                    <a:pt x="479" y="317"/>
                  </a:cubicBezTo>
                  <a:cubicBezTo>
                    <a:pt x="482" y="317"/>
                    <a:pt x="485" y="316"/>
                    <a:pt x="488" y="315"/>
                  </a:cubicBezTo>
                  <a:cubicBezTo>
                    <a:pt x="500" y="310"/>
                    <a:pt x="506" y="296"/>
                    <a:pt x="501" y="284"/>
                  </a:cubicBezTo>
                  <a:cubicBezTo>
                    <a:pt x="391" y="17"/>
                    <a:pt x="391" y="17"/>
                    <a:pt x="391" y="17"/>
                  </a:cubicBezTo>
                  <a:cubicBezTo>
                    <a:pt x="386" y="5"/>
                    <a:pt x="372" y="0"/>
                    <a:pt x="360" y="5"/>
                  </a:cubicBezTo>
                  <a:cubicBezTo>
                    <a:pt x="348" y="10"/>
                    <a:pt x="342" y="23"/>
                    <a:pt x="347" y="36"/>
                  </a:cubicBezTo>
                  <a:cubicBezTo>
                    <a:pt x="393" y="147"/>
                    <a:pt x="393" y="147"/>
                    <a:pt x="393" y="147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37" y="164"/>
                    <a:pt x="96" y="92"/>
                    <a:pt x="46" y="24"/>
                  </a:cubicBezTo>
                  <a:cubicBezTo>
                    <a:pt x="38" y="13"/>
                    <a:pt x="23" y="11"/>
                    <a:pt x="13" y="19"/>
                  </a:cubicBezTo>
                  <a:cubicBezTo>
                    <a:pt x="2" y="26"/>
                    <a:pt x="0" y="41"/>
                    <a:pt x="8" y="52"/>
                  </a:cubicBezTo>
                  <a:cubicBezTo>
                    <a:pt x="59" y="122"/>
                    <a:pt x="101" y="197"/>
                    <a:pt x="134" y="275"/>
                  </a:cubicBezTo>
                  <a:cubicBezTo>
                    <a:pt x="135" y="277"/>
                    <a:pt x="135" y="278"/>
                    <a:pt x="136" y="279"/>
                  </a:cubicBezTo>
                  <a:cubicBezTo>
                    <a:pt x="136" y="281"/>
                    <a:pt x="137" y="282"/>
                    <a:pt x="137" y="283"/>
                  </a:cubicBezTo>
                  <a:cubicBezTo>
                    <a:pt x="191" y="414"/>
                    <a:pt x="219" y="555"/>
                    <a:pt x="219" y="700"/>
                  </a:cubicBezTo>
                  <a:cubicBezTo>
                    <a:pt x="219" y="844"/>
                    <a:pt x="191" y="985"/>
                    <a:pt x="137" y="1116"/>
                  </a:cubicBezTo>
                  <a:cubicBezTo>
                    <a:pt x="137" y="1117"/>
                    <a:pt x="136" y="1119"/>
                    <a:pt x="136" y="1120"/>
                  </a:cubicBezTo>
                  <a:cubicBezTo>
                    <a:pt x="135" y="1121"/>
                    <a:pt x="135" y="1122"/>
                    <a:pt x="135" y="1123"/>
                  </a:cubicBezTo>
                  <a:cubicBezTo>
                    <a:pt x="102" y="1200"/>
                    <a:pt x="61" y="1273"/>
                    <a:pt x="12" y="1342"/>
                  </a:cubicBezTo>
                  <a:cubicBezTo>
                    <a:pt x="4" y="1353"/>
                    <a:pt x="6" y="1368"/>
                    <a:pt x="17" y="1375"/>
                  </a:cubicBezTo>
                  <a:cubicBezTo>
                    <a:pt x="21" y="1378"/>
                    <a:pt x="26" y="1380"/>
                    <a:pt x="31" y="1380"/>
                  </a:cubicBezTo>
                  <a:cubicBezTo>
                    <a:pt x="38" y="1380"/>
                    <a:pt x="45" y="1376"/>
                    <a:pt x="50" y="1370"/>
                  </a:cubicBezTo>
                  <a:cubicBezTo>
                    <a:pt x="98" y="1304"/>
                    <a:pt x="138" y="1233"/>
                    <a:pt x="170" y="1160"/>
                  </a:cubicBezTo>
                  <a:cubicBezTo>
                    <a:pt x="393" y="1252"/>
                    <a:pt x="393" y="1252"/>
                    <a:pt x="393" y="1252"/>
                  </a:cubicBezTo>
                  <a:cubicBezTo>
                    <a:pt x="347" y="1364"/>
                    <a:pt x="347" y="1364"/>
                    <a:pt x="347" y="1364"/>
                  </a:cubicBezTo>
                  <a:cubicBezTo>
                    <a:pt x="342" y="1376"/>
                    <a:pt x="348" y="1389"/>
                    <a:pt x="360" y="1394"/>
                  </a:cubicBezTo>
                  <a:cubicBezTo>
                    <a:pt x="363" y="1396"/>
                    <a:pt x="366" y="1396"/>
                    <a:pt x="369" y="1396"/>
                  </a:cubicBezTo>
                  <a:cubicBezTo>
                    <a:pt x="378" y="1396"/>
                    <a:pt x="387" y="1391"/>
                    <a:pt x="391" y="1382"/>
                  </a:cubicBezTo>
                  <a:cubicBezTo>
                    <a:pt x="501" y="1115"/>
                    <a:pt x="501" y="1115"/>
                    <a:pt x="501" y="1115"/>
                  </a:cubicBezTo>
                  <a:cubicBezTo>
                    <a:pt x="506" y="1103"/>
                    <a:pt x="500" y="1089"/>
                    <a:pt x="488" y="1084"/>
                  </a:cubicBezTo>
                  <a:cubicBezTo>
                    <a:pt x="476" y="1079"/>
                    <a:pt x="462" y="1085"/>
                    <a:pt x="457" y="1097"/>
                  </a:cubicBezTo>
                  <a:cubicBezTo>
                    <a:pt x="411" y="1208"/>
                    <a:pt x="411" y="1208"/>
                    <a:pt x="411" y="1208"/>
                  </a:cubicBezTo>
                  <a:cubicBezTo>
                    <a:pt x="188" y="1116"/>
                    <a:pt x="188" y="1116"/>
                    <a:pt x="188" y="1116"/>
                  </a:cubicBezTo>
                  <a:cubicBezTo>
                    <a:pt x="237" y="992"/>
                    <a:pt x="263" y="859"/>
                    <a:pt x="266" y="723"/>
                  </a:cubicBezTo>
                  <a:cubicBezTo>
                    <a:pt x="508" y="723"/>
                    <a:pt x="508" y="723"/>
                    <a:pt x="508" y="723"/>
                  </a:cubicBezTo>
                  <a:cubicBezTo>
                    <a:pt x="508" y="844"/>
                    <a:pt x="508" y="844"/>
                    <a:pt x="508" y="844"/>
                  </a:cubicBezTo>
                  <a:cubicBezTo>
                    <a:pt x="508" y="857"/>
                    <a:pt x="518" y="867"/>
                    <a:pt x="531" y="867"/>
                  </a:cubicBezTo>
                  <a:cubicBezTo>
                    <a:pt x="544" y="867"/>
                    <a:pt x="555" y="857"/>
                    <a:pt x="555" y="844"/>
                  </a:cubicBezTo>
                  <a:cubicBezTo>
                    <a:pt x="555" y="555"/>
                    <a:pt x="555" y="555"/>
                    <a:pt x="555" y="555"/>
                  </a:cubicBezTo>
                  <a:cubicBezTo>
                    <a:pt x="555" y="542"/>
                    <a:pt x="544" y="532"/>
                    <a:pt x="531" y="53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180;p1">
              <a:extLst>
                <a:ext uri="{FF2B5EF4-FFF2-40B4-BE49-F238E27FC236}">
                  <a16:creationId xmlns:a16="http://schemas.microsoft.com/office/drawing/2014/main" id="{0A8A95CA-4825-4C1A-B318-8DE4F99C18C8}"/>
                </a:ext>
              </a:extLst>
            </p:cNvPr>
            <p:cNvSpPr/>
            <p:nvPr/>
          </p:nvSpPr>
          <p:spPr>
            <a:xfrm>
              <a:off x="13836650" y="2284413"/>
              <a:ext cx="668338" cy="866775"/>
            </a:xfrm>
            <a:custGeom>
              <a:avLst/>
              <a:gdLst/>
              <a:ahLst/>
              <a:cxnLst/>
              <a:rect l="l" t="t" r="r" b="b"/>
              <a:pathLst>
                <a:path w="1193" h="1548" extrusionOk="0">
                  <a:moveTo>
                    <a:pt x="1161" y="1105"/>
                  </a:moveTo>
                  <a:cubicBezTo>
                    <a:pt x="1168" y="1102"/>
                    <a:pt x="1176" y="1098"/>
                    <a:pt x="1181" y="1093"/>
                  </a:cubicBezTo>
                  <a:cubicBezTo>
                    <a:pt x="1184" y="1090"/>
                    <a:pt x="1186" y="1087"/>
                    <a:pt x="1188" y="1085"/>
                  </a:cubicBezTo>
                  <a:cubicBezTo>
                    <a:pt x="1189" y="1085"/>
                    <a:pt x="1190" y="1084"/>
                    <a:pt x="1190" y="1082"/>
                  </a:cubicBezTo>
                  <a:cubicBezTo>
                    <a:pt x="1191" y="1082"/>
                    <a:pt x="1193" y="1077"/>
                    <a:pt x="1193" y="1077"/>
                  </a:cubicBezTo>
                  <a:cubicBezTo>
                    <a:pt x="1188" y="1077"/>
                    <a:pt x="1185" y="1079"/>
                    <a:pt x="1181" y="1079"/>
                  </a:cubicBezTo>
                  <a:cubicBezTo>
                    <a:pt x="1154" y="1077"/>
                    <a:pt x="1120" y="1068"/>
                    <a:pt x="1098" y="1060"/>
                  </a:cubicBezTo>
                  <a:cubicBezTo>
                    <a:pt x="1088" y="1057"/>
                    <a:pt x="1123" y="1042"/>
                    <a:pt x="1127" y="1038"/>
                  </a:cubicBezTo>
                  <a:cubicBezTo>
                    <a:pt x="1135" y="1032"/>
                    <a:pt x="1139" y="1026"/>
                    <a:pt x="1143" y="1019"/>
                  </a:cubicBezTo>
                  <a:cubicBezTo>
                    <a:pt x="1145" y="1015"/>
                    <a:pt x="1153" y="998"/>
                    <a:pt x="1154" y="996"/>
                  </a:cubicBezTo>
                  <a:cubicBezTo>
                    <a:pt x="1155" y="992"/>
                    <a:pt x="1159" y="984"/>
                    <a:pt x="1159" y="980"/>
                  </a:cubicBezTo>
                  <a:cubicBezTo>
                    <a:pt x="1160" y="975"/>
                    <a:pt x="1160" y="972"/>
                    <a:pt x="1158" y="972"/>
                  </a:cubicBezTo>
                  <a:cubicBezTo>
                    <a:pt x="1153" y="969"/>
                    <a:pt x="1135" y="987"/>
                    <a:pt x="1122" y="993"/>
                  </a:cubicBezTo>
                  <a:cubicBezTo>
                    <a:pt x="1113" y="999"/>
                    <a:pt x="1097" y="1005"/>
                    <a:pt x="1083" y="1009"/>
                  </a:cubicBezTo>
                  <a:cubicBezTo>
                    <a:pt x="1073" y="1012"/>
                    <a:pt x="1065" y="1019"/>
                    <a:pt x="1063" y="1020"/>
                  </a:cubicBezTo>
                  <a:cubicBezTo>
                    <a:pt x="1064" y="1009"/>
                    <a:pt x="1070" y="996"/>
                    <a:pt x="1072" y="986"/>
                  </a:cubicBezTo>
                  <a:cubicBezTo>
                    <a:pt x="1075" y="975"/>
                    <a:pt x="1075" y="965"/>
                    <a:pt x="1075" y="954"/>
                  </a:cubicBezTo>
                  <a:cubicBezTo>
                    <a:pt x="1071" y="954"/>
                    <a:pt x="1067" y="954"/>
                    <a:pt x="1063" y="955"/>
                  </a:cubicBezTo>
                  <a:cubicBezTo>
                    <a:pt x="1063" y="981"/>
                    <a:pt x="1059" y="1015"/>
                    <a:pt x="1044" y="1032"/>
                  </a:cubicBezTo>
                  <a:cubicBezTo>
                    <a:pt x="1042" y="1035"/>
                    <a:pt x="1039" y="1041"/>
                    <a:pt x="1041" y="1043"/>
                  </a:cubicBezTo>
                  <a:cubicBezTo>
                    <a:pt x="1041" y="1044"/>
                    <a:pt x="1044" y="1043"/>
                    <a:pt x="1048" y="1040"/>
                  </a:cubicBezTo>
                  <a:cubicBezTo>
                    <a:pt x="1063" y="1028"/>
                    <a:pt x="1088" y="1015"/>
                    <a:pt x="1120" y="1008"/>
                  </a:cubicBezTo>
                  <a:cubicBezTo>
                    <a:pt x="1124" y="1007"/>
                    <a:pt x="1131" y="1003"/>
                    <a:pt x="1136" y="999"/>
                  </a:cubicBezTo>
                  <a:cubicBezTo>
                    <a:pt x="1136" y="999"/>
                    <a:pt x="1147" y="988"/>
                    <a:pt x="1144" y="994"/>
                  </a:cubicBezTo>
                  <a:cubicBezTo>
                    <a:pt x="1134" y="1019"/>
                    <a:pt x="1124" y="1034"/>
                    <a:pt x="1096" y="1046"/>
                  </a:cubicBezTo>
                  <a:cubicBezTo>
                    <a:pt x="1085" y="1050"/>
                    <a:pt x="1070" y="1054"/>
                    <a:pt x="1058" y="1057"/>
                  </a:cubicBezTo>
                  <a:cubicBezTo>
                    <a:pt x="1040" y="1061"/>
                    <a:pt x="1042" y="1064"/>
                    <a:pt x="1050" y="1065"/>
                  </a:cubicBezTo>
                  <a:cubicBezTo>
                    <a:pt x="1059" y="1066"/>
                    <a:pt x="1076" y="1065"/>
                    <a:pt x="1081" y="1066"/>
                  </a:cubicBezTo>
                  <a:cubicBezTo>
                    <a:pt x="1096" y="1071"/>
                    <a:pt x="1135" y="1084"/>
                    <a:pt x="1152" y="1087"/>
                  </a:cubicBezTo>
                  <a:cubicBezTo>
                    <a:pt x="1160" y="1088"/>
                    <a:pt x="1166" y="1087"/>
                    <a:pt x="1167" y="1088"/>
                  </a:cubicBezTo>
                  <a:cubicBezTo>
                    <a:pt x="1168" y="1091"/>
                    <a:pt x="1150" y="1099"/>
                    <a:pt x="1143" y="1101"/>
                  </a:cubicBezTo>
                  <a:cubicBezTo>
                    <a:pt x="1120" y="1109"/>
                    <a:pt x="1093" y="1113"/>
                    <a:pt x="1070" y="1108"/>
                  </a:cubicBezTo>
                  <a:cubicBezTo>
                    <a:pt x="1056" y="1105"/>
                    <a:pt x="1044" y="1097"/>
                    <a:pt x="1037" y="1093"/>
                  </a:cubicBezTo>
                  <a:cubicBezTo>
                    <a:pt x="1030" y="1087"/>
                    <a:pt x="1028" y="1077"/>
                    <a:pt x="1022" y="1071"/>
                  </a:cubicBezTo>
                  <a:cubicBezTo>
                    <a:pt x="1020" y="1068"/>
                    <a:pt x="1016" y="1073"/>
                    <a:pt x="1017" y="1073"/>
                  </a:cubicBezTo>
                  <a:cubicBezTo>
                    <a:pt x="1020" y="1080"/>
                    <a:pt x="1023" y="1089"/>
                    <a:pt x="1027" y="1095"/>
                  </a:cubicBezTo>
                  <a:cubicBezTo>
                    <a:pt x="1033" y="1104"/>
                    <a:pt x="1041" y="1121"/>
                    <a:pt x="1041" y="1135"/>
                  </a:cubicBezTo>
                  <a:cubicBezTo>
                    <a:pt x="1041" y="1143"/>
                    <a:pt x="1041" y="1152"/>
                    <a:pt x="1041" y="1161"/>
                  </a:cubicBezTo>
                  <a:cubicBezTo>
                    <a:pt x="1040" y="1168"/>
                    <a:pt x="1037" y="1178"/>
                    <a:pt x="1036" y="1180"/>
                  </a:cubicBezTo>
                  <a:cubicBezTo>
                    <a:pt x="1034" y="1184"/>
                    <a:pt x="1027" y="1202"/>
                    <a:pt x="1024" y="1206"/>
                  </a:cubicBezTo>
                  <a:cubicBezTo>
                    <a:pt x="1024" y="1206"/>
                    <a:pt x="1019" y="1214"/>
                    <a:pt x="1016" y="1216"/>
                  </a:cubicBezTo>
                  <a:cubicBezTo>
                    <a:pt x="1016" y="1197"/>
                    <a:pt x="1017" y="1170"/>
                    <a:pt x="1009" y="1154"/>
                  </a:cubicBezTo>
                  <a:cubicBezTo>
                    <a:pt x="1000" y="1136"/>
                    <a:pt x="992" y="1124"/>
                    <a:pt x="977" y="1103"/>
                  </a:cubicBezTo>
                  <a:cubicBezTo>
                    <a:pt x="965" y="1088"/>
                    <a:pt x="924" y="1054"/>
                    <a:pt x="914" y="1046"/>
                  </a:cubicBezTo>
                  <a:cubicBezTo>
                    <a:pt x="899" y="1034"/>
                    <a:pt x="876" y="1011"/>
                    <a:pt x="861" y="996"/>
                  </a:cubicBezTo>
                  <a:cubicBezTo>
                    <a:pt x="852" y="986"/>
                    <a:pt x="825" y="945"/>
                    <a:pt x="821" y="932"/>
                  </a:cubicBezTo>
                  <a:cubicBezTo>
                    <a:pt x="814" y="914"/>
                    <a:pt x="802" y="876"/>
                    <a:pt x="798" y="874"/>
                  </a:cubicBezTo>
                  <a:cubicBezTo>
                    <a:pt x="797" y="874"/>
                    <a:pt x="795" y="874"/>
                    <a:pt x="794" y="875"/>
                  </a:cubicBezTo>
                  <a:cubicBezTo>
                    <a:pt x="793" y="875"/>
                    <a:pt x="793" y="877"/>
                    <a:pt x="793" y="878"/>
                  </a:cubicBezTo>
                  <a:cubicBezTo>
                    <a:pt x="797" y="895"/>
                    <a:pt x="803" y="911"/>
                    <a:pt x="809" y="929"/>
                  </a:cubicBezTo>
                  <a:cubicBezTo>
                    <a:pt x="810" y="931"/>
                    <a:pt x="811" y="933"/>
                    <a:pt x="812" y="935"/>
                  </a:cubicBezTo>
                  <a:cubicBezTo>
                    <a:pt x="816" y="966"/>
                    <a:pt x="821" y="1005"/>
                    <a:pt x="820" y="1036"/>
                  </a:cubicBezTo>
                  <a:cubicBezTo>
                    <a:pt x="820" y="1052"/>
                    <a:pt x="819" y="1066"/>
                    <a:pt x="819" y="1081"/>
                  </a:cubicBezTo>
                  <a:cubicBezTo>
                    <a:pt x="819" y="1090"/>
                    <a:pt x="818" y="1098"/>
                    <a:pt x="817" y="1106"/>
                  </a:cubicBezTo>
                  <a:cubicBezTo>
                    <a:pt x="817" y="1108"/>
                    <a:pt x="815" y="1121"/>
                    <a:pt x="815" y="1125"/>
                  </a:cubicBezTo>
                  <a:cubicBezTo>
                    <a:pt x="816" y="1127"/>
                    <a:pt x="828" y="1135"/>
                    <a:pt x="829" y="1136"/>
                  </a:cubicBezTo>
                  <a:cubicBezTo>
                    <a:pt x="832" y="1139"/>
                    <a:pt x="845" y="1148"/>
                    <a:pt x="848" y="1151"/>
                  </a:cubicBezTo>
                  <a:cubicBezTo>
                    <a:pt x="868" y="1171"/>
                    <a:pt x="868" y="1171"/>
                    <a:pt x="868" y="1171"/>
                  </a:cubicBezTo>
                  <a:cubicBezTo>
                    <a:pt x="880" y="1182"/>
                    <a:pt x="893" y="1193"/>
                    <a:pt x="910" y="1195"/>
                  </a:cubicBezTo>
                  <a:cubicBezTo>
                    <a:pt x="921" y="1195"/>
                    <a:pt x="929" y="1195"/>
                    <a:pt x="937" y="1193"/>
                  </a:cubicBezTo>
                  <a:cubicBezTo>
                    <a:pt x="938" y="1193"/>
                    <a:pt x="934" y="1201"/>
                    <a:pt x="933" y="1203"/>
                  </a:cubicBezTo>
                  <a:cubicBezTo>
                    <a:pt x="931" y="1204"/>
                    <a:pt x="930" y="1206"/>
                    <a:pt x="929" y="1207"/>
                  </a:cubicBezTo>
                  <a:cubicBezTo>
                    <a:pt x="925" y="1210"/>
                    <a:pt x="922" y="1212"/>
                    <a:pt x="917" y="1213"/>
                  </a:cubicBezTo>
                  <a:cubicBezTo>
                    <a:pt x="908" y="1215"/>
                    <a:pt x="899" y="1216"/>
                    <a:pt x="889" y="1216"/>
                  </a:cubicBezTo>
                  <a:cubicBezTo>
                    <a:pt x="888" y="1216"/>
                    <a:pt x="879" y="1216"/>
                    <a:pt x="877" y="1217"/>
                  </a:cubicBezTo>
                  <a:cubicBezTo>
                    <a:pt x="875" y="1218"/>
                    <a:pt x="877" y="1219"/>
                    <a:pt x="877" y="1221"/>
                  </a:cubicBezTo>
                  <a:cubicBezTo>
                    <a:pt x="879" y="1225"/>
                    <a:pt x="899" y="1223"/>
                    <a:pt x="906" y="1223"/>
                  </a:cubicBezTo>
                  <a:cubicBezTo>
                    <a:pt x="912" y="1222"/>
                    <a:pt x="915" y="1221"/>
                    <a:pt x="919" y="1221"/>
                  </a:cubicBezTo>
                  <a:cubicBezTo>
                    <a:pt x="919" y="1235"/>
                    <a:pt x="891" y="1244"/>
                    <a:pt x="879" y="1246"/>
                  </a:cubicBezTo>
                  <a:cubicBezTo>
                    <a:pt x="872" y="1247"/>
                    <a:pt x="863" y="1247"/>
                    <a:pt x="860" y="1251"/>
                  </a:cubicBezTo>
                  <a:cubicBezTo>
                    <a:pt x="860" y="1255"/>
                    <a:pt x="882" y="1254"/>
                    <a:pt x="892" y="1255"/>
                  </a:cubicBezTo>
                  <a:cubicBezTo>
                    <a:pt x="896" y="1255"/>
                    <a:pt x="924" y="1252"/>
                    <a:pt x="922" y="1256"/>
                  </a:cubicBezTo>
                  <a:cubicBezTo>
                    <a:pt x="920" y="1259"/>
                    <a:pt x="916" y="1262"/>
                    <a:pt x="913" y="1264"/>
                  </a:cubicBezTo>
                  <a:cubicBezTo>
                    <a:pt x="906" y="1267"/>
                    <a:pt x="898" y="1269"/>
                    <a:pt x="891" y="1270"/>
                  </a:cubicBezTo>
                  <a:cubicBezTo>
                    <a:pt x="881" y="1272"/>
                    <a:pt x="871" y="1272"/>
                    <a:pt x="862" y="1272"/>
                  </a:cubicBezTo>
                  <a:cubicBezTo>
                    <a:pt x="858" y="1272"/>
                    <a:pt x="856" y="1276"/>
                    <a:pt x="861" y="1276"/>
                  </a:cubicBezTo>
                  <a:cubicBezTo>
                    <a:pt x="866" y="1277"/>
                    <a:pt x="871" y="1277"/>
                    <a:pt x="876" y="1278"/>
                  </a:cubicBezTo>
                  <a:cubicBezTo>
                    <a:pt x="883" y="1279"/>
                    <a:pt x="900" y="1277"/>
                    <a:pt x="898" y="1280"/>
                  </a:cubicBezTo>
                  <a:cubicBezTo>
                    <a:pt x="897" y="1283"/>
                    <a:pt x="893" y="1288"/>
                    <a:pt x="889" y="1290"/>
                  </a:cubicBezTo>
                  <a:cubicBezTo>
                    <a:pt x="883" y="1293"/>
                    <a:pt x="868" y="1296"/>
                    <a:pt x="862" y="1297"/>
                  </a:cubicBezTo>
                  <a:cubicBezTo>
                    <a:pt x="846" y="1298"/>
                    <a:pt x="842" y="1298"/>
                    <a:pt x="843" y="1302"/>
                  </a:cubicBezTo>
                  <a:cubicBezTo>
                    <a:pt x="843" y="1302"/>
                    <a:pt x="845" y="1302"/>
                    <a:pt x="846" y="1303"/>
                  </a:cubicBezTo>
                  <a:cubicBezTo>
                    <a:pt x="862" y="1305"/>
                    <a:pt x="869" y="1308"/>
                    <a:pt x="882" y="1313"/>
                  </a:cubicBezTo>
                  <a:cubicBezTo>
                    <a:pt x="883" y="1314"/>
                    <a:pt x="885" y="1314"/>
                    <a:pt x="887" y="1314"/>
                  </a:cubicBezTo>
                  <a:cubicBezTo>
                    <a:pt x="891" y="1314"/>
                    <a:pt x="896" y="1315"/>
                    <a:pt x="899" y="1316"/>
                  </a:cubicBezTo>
                  <a:cubicBezTo>
                    <a:pt x="898" y="1322"/>
                    <a:pt x="862" y="1329"/>
                    <a:pt x="856" y="1329"/>
                  </a:cubicBezTo>
                  <a:cubicBezTo>
                    <a:pt x="850" y="1329"/>
                    <a:pt x="827" y="1326"/>
                    <a:pt x="827" y="1331"/>
                  </a:cubicBezTo>
                  <a:cubicBezTo>
                    <a:pt x="828" y="1343"/>
                    <a:pt x="863" y="1336"/>
                    <a:pt x="868" y="1348"/>
                  </a:cubicBezTo>
                  <a:cubicBezTo>
                    <a:pt x="862" y="1347"/>
                    <a:pt x="844" y="1359"/>
                    <a:pt x="836" y="1357"/>
                  </a:cubicBezTo>
                  <a:cubicBezTo>
                    <a:pt x="833" y="1357"/>
                    <a:pt x="828" y="1355"/>
                    <a:pt x="824" y="1355"/>
                  </a:cubicBezTo>
                  <a:cubicBezTo>
                    <a:pt x="821" y="1355"/>
                    <a:pt x="821" y="1355"/>
                    <a:pt x="821" y="1361"/>
                  </a:cubicBezTo>
                  <a:cubicBezTo>
                    <a:pt x="821" y="1364"/>
                    <a:pt x="821" y="1364"/>
                    <a:pt x="824" y="1364"/>
                  </a:cubicBezTo>
                  <a:cubicBezTo>
                    <a:pt x="832" y="1365"/>
                    <a:pt x="838" y="1366"/>
                    <a:pt x="840" y="1374"/>
                  </a:cubicBezTo>
                  <a:cubicBezTo>
                    <a:pt x="838" y="1373"/>
                    <a:pt x="835" y="1373"/>
                    <a:pt x="833" y="1373"/>
                  </a:cubicBezTo>
                  <a:cubicBezTo>
                    <a:pt x="827" y="1373"/>
                    <a:pt x="821" y="1378"/>
                    <a:pt x="818" y="1382"/>
                  </a:cubicBezTo>
                  <a:cubicBezTo>
                    <a:pt x="816" y="1385"/>
                    <a:pt x="816" y="1388"/>
                    <a:pt x="815" y="1390"/>
                  </a:cubicBezTo>
                  <a:cubicBezTo>
                    <a:pt x="815" y="1391"/>
                    <a:pt x="815" y="1392"/>
                    <a:pt x="815" y="1393"/>
                  </a:cubicBezTo>
                  <a:cubicBezTo>
                    <a:pt x="815" y="1398"/>
                    <a:pt x="817" y="1402"/>
                    <a:pt x="818" y="1405"/>
                  </a:cubicBezTo>
                  <a:cubicBezTo>
                    <a:pt x="820" y="1408"/>
                    <a:pt x="824" y="1409"/>
                    <a:pt x="826" y="1410"/>
                  </a:cubicBezTo>
                  <a:cubicBezTo>
                    <a:pt x="827" y="1410"/>
                    <a:pt x="828" y="1411"/>
                    <a:pt x="829" y="1411"/>
                  </a:cubicBezTo>
                  <a:cubicBezTo>
                    <a:pt x="830" y="1412"/>
                    <a:pt x="831" y="1413"/>
                    <a:pt x="832" y="1413"/>
                  </a:cubicBezTo>
                  <a:cubicBezTo>
                    <a:pt x="825" y="1418"/>
                    <a:pt x="812" y="1419"/>
                    <a:pt x="805" y="1416"/>
                  </a:cubicBezTo>
                  <a:cubicBezTo>
                    <a:pt x="800" y="1414"/>
                    <a:pt x="782" y="1396"/>
                    <a:pt x="783" y="1409"/>
                  </a:cubicBezTo>
                  <a:cubicBezTo>
                    <a:pt x="783" y="1411"/>
                    <a:pt x="785" y="1413"/>
                    <a:pt x="787" y="1415"/>
                  </a:cubicBezTo>
                  <a:cubicBezTo>
                    <a:pt x="785" y="1419"/>
                    <a:pt x="782" y="1422"/>
                    <a:pt x="779" y="1424"/>
                  </a:cubicBezTo>
                  <a:cubicBezTo>
                    <a:pt x="775" y="1428"/>
                    <a:pt x="771" y="1429"/>
                    <a:pt x="767" y="1431"/>
                  </a:cubicBezTo>
                  <a:cubicBezTo>
                    <a:pt x="766" y="1431"/>
                    <a:pt x="766" y="1430"/>
                    <a:pt x="766" y="1430"/>
                  </a:cubicBezTo>
                  <a:cubicBezTo>
                    <a:pt x="758" y="1441"/>
                    <a:pt x="769" y="1438"/>
                    <a:pt x="774" y="1440"/>
                  </a:cubicBezTo>
                  <a:cubicBezTo>
                    <a:pt x="786" y="1446"/>
                    <a:pt x="785" y="1456"/>
                    <a:pt x="783" y="1468"/>
                  </a:cubicBezTo>
                  <a:cubicBezTo>
                    <a:pt x="782" y="1483"/>
                    <a:pt x="771" y="1497"/>
                    <a:pt x="755" y="1499"/>
                  </a:cubicBezTo>
                  <a:cubicBezTo>
                    <a:pt x="755" y="1499"/>
                    <a:pt x="755" y="1499"/>
                    <a:pt x="755" y="1499"/>
                  </a:cubicBezTo>
                  <a:cubicBezTo>
                    <a:pt x="756" y="1491"/>
                    <a:pt x="751" y="1483"/>
                    <a:pt x="743" y="1478"/>
                  </a:cubicBezTo>
                  <a:cubicBezTo>
                    <a:pt x="736" y="1474"/>
                    <a:pt x="728" y="1473"/>
                    <a:pt x="722" y="1477"/>
                  </a:cubicBezTo>
                  <a:cubicBezTo>
                    <a:pt x="715" y="1481"/>
                    <a:pt x="710" y="1487"/>
                    <a:pt x="709" y="1494"/>
                  </a:cubicBezTo>
                  <a:cubicBezTo>
                    <a:pt x="709" y="1496"/>
                    <a:pt x="709" y="1497"/>
                    <a:pt x="709" y="1498"/>
                  </a:cubicBezTo>
                  <a:cubicBezTo>
                    <a:pt x="695" y="1493"/>
                    <a:pt x="696" y="1469"/>
                    <a:pt x="705" y="1459"/>
                  </a:cubicBezTo>
                  <a:cubicBezTo>
                    <a:pt x="706" y="1458"/>
                    <a:pt x="707" y="1456"/>
                    <a:pt x="708" y="1454"/>
                  </a:cubicBezTo>
                  <a:cubicBezTo>
                    <a:pt x="709" y="1453"/>
                    <a:pt x="710" y="1453"/>
                    <a:pt x="711" y="1452"/>
                  </a:cubicBezTo>
                  <a:cubicBezTo>
                    <a:pt x="712" y="1452"/>
                    <a:pt x="712" y="1452"/>
                    <a:pt x="712" y="1452"/>
                  </a:cubicBezTo>
                  <a:cubicBezTo>
                    <a:pt x="712" y="1452"/>
                    <a:pt x="713" y="1452"/>
                    <a:pt x="713" y="1452"/>
                  </a:cubicBezTo>
                  <a:cubicBezTo>
                    <a:pt x="714" y="1451"/>
                    <a:pt x="715" y="1451"/>
                    <a:pt x="715" y="1451"/>
                  </a:cubicBezTo>
                  <a:cubicBezTo>
                    <a:pt x="716" y="1451"/>
                    <a:pt x="718" y="1451"/>
                    <a:pt x="718" y="1450"/>
                  </a:cubicBezTo>
                  <a:cubicBezTo>
                    <a:pt x="718" y="1450"/>
                    <a:pt x="718" y="1448"/>
                    <a:pt x="717" y="1448"/>
                  </a:cubicBezTo>
                  <a:cubicBezTo>
                    <a:pt x="716" y="1448"/>
                    <a:pt x="715" y="1449"/>
                    <a:pt x="713" y="1449"/>
                  </a:cubicBezTo>
                  <a:cubicBezTo>
                    <a:pt x="712" y="1450"/>
                    <a:pt x="710" y="1450"/>
                    <a:pt x="709" y="1450"/>
                  </a:cubicBezTo>
                  <a:cubicBezTo>
                    <a:pt x="710" y="1448"/>
                    <a:pt x="710" y="1447"/>
                    <a:pt x="710" y="1445"/>
                  </a:cubicBezTo>
                  <a:cubicBezTo>
                    <a:pt x="712" y="1440"/>
                    <a:pt x="714" y="1426"/>
                    <a:pt x="715" y="1424"/>
                  </a:cubicBezTo>
                  <a:cubicBezTo>
                    <a:pt x="715" y="1421"/>
                    <a:pt x="715" y="1411"/>
                    <a:pt x="716" y="1409"/>
                  </a:cubicBezTo>
                  <a:cubicBezTo>
                    <a:pt x="716" y="1403"/>
                    <a:pt x="716" y="1396"/>
                    <a:pt x="713" y="1394"/>
                  </a:cubicBezTo>
                  <a:cubicBezTo>
                    <a:pt x="705" y="1389"/>
                    <a:pt x="706" y="1410"/>
                    <a:pt x="706" y="1416"/>
                  </a:cubicBezTo>
                  <a:cubicBezTo>
                    <a:pt x="703" y="1445"/>
                    <a:pt x="689" y="1454"/>
                    <a:pt x="688" y="1473"/>
                  </a:cubicBezTo>
                  <a:cubicBezTo>
                    <a:pt x="688" y="1473"/>
                    <a:pt x="688" y="1474"/>
                    <a:pt x="688" y="1474"/>
                  </a:cubicBezTo>
                  <a:cubicBezTo>
                    <a:pt x="686" y="1472"/>
                    <a:pt x="685" y="1471"/>
                    <a:pt x="684" y="1471"/>
                  </a:cubicBezTo>
                  <a:cubicBezTo>
                    <a:pt x="683" y="1470"/>
                    <a:pt x="682" y="1469"/>
                    <a:pt x="681" y="1469"/>
                  </a:cubicBezTo>
                  <a:cubicBezTo>
                    <a:pt x="680" y="1468"/>
                    <a:pt x="676" y="1469"/>
                    <a:pt x="676" y="1470"/>
                  </a:cubicBezTo>
                  <a:cubicBezTo>
                    <a:pt x="674" y="1473"/>
                    <a:pt x="679" y="1475"/>
                    <a:pt x="681" y="1477"/>
                  </a:cubicBezTo>
                  <a:cubicBezTo>
                    <a:pt x="682" y="1478"/>
                    <a:pt x="684" y="1480"/>
                    <a:pt x="685" y="1481"/>
                  </a:cubicBezTo>
                  <a:cubicBezTo>
                    <a:pt x="686" y="1482"/>
                    <a:pt x="686" y="1484"/>
                    <a:pt x="687" y="1485"/>
                  </a:cubicBezTo>
                  <a:cubicBezTo>
                    <a:pt x="687" y="1492"/>
                    <a:pt x="686" y="1499"/>
                    <a:pt x="679" y="1506"/>
                  </a:cubicBezTo>
                  <a:cubicBezTo>
                    <a:pt x="663" y="1523"/>
                    <a:pt x="647" y="1521"/>
                    <a:pt x="635" y="1515"/>
                  </a:cubicBezTo>
                  <a:cubicBezTo>
                    <a:pt x="645" y="1506"/>
                    <a:pt x="648" y="1496"/>
                    <a:pt x="641" y="1486"/>
                  </a:cubicBezTo>
                  <a:cubicBezTo>
                    <a:pt x="636" y="1479"/>
                    <a:pt x="629" y="1475"/>
                    <a:pt x="622" y="1476"/>
                  </a:cubicBezTo>
                  <a:cubicBezTo>
                    <a:pt x="616" y="1476"/>
                    <a:pt x="609" y="1480"/>
                    <a:pt x="604" y="1486"/>
                  </a:cubicBezTo>
                  <a:cubicBezTo>
                    <a:pt x="600" y="1481"/>
                    <a:pt x="601" y="1465"/>
                    <a:pt x="605" y="1461"/>
                  </a:cubicBezTo>
                  <a:cubicBezTo>
                    <a:pt x="612" y="1452"/>
                    <a:pt x="614" y="1447"/>
                    <a:pt x="626" y="1443"/>
                  </a:cubicBezTo>
                  <a:cubicBezTo>
                    <a:pt x="628" y="1442"/>
                    <a:pt x="630" y="1441"/>
                    <a:pt x="632" y="1440"/>
                  </a:cubicBezTo>
                  <a:cubicBezTo>
                    <a:pt x="634" y="1439"/>
                    <a:pt x="635" y="1439"/>
                    <a:pt x="637" y="1439"/>
                  </a:cubicBezTo>
                  <a:cubicBezTo>
                    <a:pt x="638" y="1439"/>
                    <a:pt x="640" y="1439"/>
                    <a:pt x="641" y="1439"/>
                  </a:cubicBezTo>
                  <a:cubicBezTo>
                    <a:pt x="642" y="1440"/>
                    <a:pt x="646" y="1441"/>
                    <a:pt x="647" y="1441"/>
                  </a:cubicBezTo>
                  <a:cubicBezTo>
                    <a:pt x="649" y="1441"/>
                    <a:pt x="650" y="1442"/>
                    <a:pt x="650" y="1440"/>
                  </a:cubicBezTo>
                  <a:cubicBezTo>
                    <a:pt x="650" y="1437"/>
                    <a:pt x="646" y="1434"/>
                    <a:pt x="643" y="1433"/>
                  </a:cubicBezTo>
                  <a:cubicBezTo>
                    <a:pt x="656" y="1423"/>
                    <a:pt x="666" y="1408"/>
                    <a:pt x="675" y="1394"/>
                  </a:cubicBezTo>
                  <a:cubicBezTo>
                    <a:pt x="677" y="1390"/>
                    <a:pt x="675" y="1379"/>
                    <a:pt x="670" y="1385"/>
                  </a:cubicBezTo>
                  <a:cubicBezTo>
                    <a:pt x="662" y="1393"/>
                    <a:pt x="656" y="1405"/>
                    <a:pt x="648" y="1414"/>
                  </a:cubicBezTo>
                  <a:cubicBezTo>
                    <a:pt x="648" y="1413"/>
                    <a:pt x="648" y="1412"/>
                    <a:pt x="647" y="1411"/>
                  </a:cubicBezTo>
                  <a:cubicBezTo>
                    <a:pt x="645" y="1410"/>
                    <a:pt x="642" y="1413"/>
                    <a:pt x="641" y="1414"/>
                  </a:cubicBezTo>
                  <a:cubicBezTo>
                    <a:pt x="639" y="1416"/>
                    <a:pt x="638" y="1421"/>
                    <a:pt x="636" y="1425"/>
                  </a:cubicBezTo>
                  <a:cubicBezTo>
                    <a:pt x="622" y="1435"/>
                    <a:pt x="597" y="1448"/>
                    <a:pt x="602" y="1420"/>
                  </a:cubicBezTo>
                  <a:cubicBezTo>
                    <a:pt x="611" y="1419"/>
                    <a:pt x="620" y="1411"/>
                    <a:pt x="624" y="1403"/>
                  </a:cubicBezTo>
                  <a:cubicBezTo>
                    <a:pt x="627" y="1395"/>
                    <a:pt x="626" y="1388"/>
                    <a:pt x="620" y="1384"/>
                  </a:cubicBezTo>
                  <a:cubicBezTo>
                    <a:pt x="619" y="1383"/>
                    <a:pt x="619" y="1383"/>
                    <a:pt x="618" y="1383"/>
                  </a:cubicBezTo>
                  <a:cubicBezTo>
                    <a:pt x="624" y="1374"/>
                    <a:pt x="634" y="1373"/>
                    <a:pt x="645" y="1373"/>
                  </a:cubicBezTo>
                  <a:cubicBezTo>
                    <a:pt x="647" y="1374"/>
                    <a:pt x="648" y="1375"/>
                    <a:pt x="649" y="1377"/>
                  </a:cubicBezTo>
                  <a:cubicBezTo>
                    <a:pt x="651" y="1379"/>
                    <a:pt x="652" y="1379"/>
                    <a:pt x="655" y="1379"/>
                  </a:cubicBezTo>
                  <a:cubicBezTo>
                    <a:pt x="656" y="1379"/>
                    <a:pt x="657" y="1378"/>
                    <a:pt x="657" y="1377"/>
                  </a:cubicBezTo>
                  <a:cubicBezTo>
                    <a:pt x="657" y="1376"/>
                    <a:pt x="655" y="1375"/>
                    <a:pt x="654" y="1373"/>
                  </a:cubicBezTo>
                  <a:cubicBezTo>
                    <a:pt x="654" y="1373"/>
                    <a:pt x="653" y="1373"/>
                    <a:pt x="653" y="1373"/>
                  </a:cubicBezTo>
                  <a:cubicBezTo>
                    <a:pt x="661" y="1373"/>
                    <a:pt x="669" y="1373"/>
                    <a:pt x="675" y="1370"/>
                  </a:cubicBezTo>
                  <a:cubicBezTo>
                    <a:pt x="698" y="1360"/>
                    <a:pt x="732" y="1306"/>
                    <a:pt x="745" y="1286"/>
                  </a:cubicBezTo>
                  <a:cubicBezTo>
                    <a:pt x="747" y="1283"/>
                    <a:pt x="751" y="1275"/>
                    <a:pt x="751" y="1265"/>
                  </a:cubicBezTo>
                  <a:cubicBezTo>
                    <a:pt x="752" y="1260"/>
                    <a:pt x="749" y="1256"/>
                    <a:pt x="748" y="1252"/>
                  </a:cubicBezTo>
                  <a:cubicBezTo>
                    <a:pt x="746" y="1247"/>
                    <a:pt x="735" y="1235"/>
                    <a:pt x="724" y="1222"/>
                  </a:cubicBezTo>
                  <a:cubicBezTo>
                    <a:pt x="716" y="1213"/>
                    <a:pt x="710" y="1205"/>
                    <a:pt x="705" y="1198"/>
                  </a:cubicBezTo>
                  <a:cubicBezTo>
                    <a:pt x="710" y="1182"/>
                    <a:pt x="714" y="1165"/>
                    <a:pt x="714" y="1153"/>
                  </a:cubicBezTo>
                  <a:cubicBezTo>
                    <a:pt x="713" y="1147"/>
                    <a:pt x="710" y="1148"/>
                    <a:pt x="708" y="1151"/>
                  </a:cubicBezTo>
                  <a:cubicBezTo>
                    <a:pt x="706" y="1154"/>
                    <a:pt x="705" y="1158"/>
                    <a:pt x="704" y="1160"/>
                  </a:cubicBezTo>
                  <a:cubicBezTo>
                    <a:pt x="698" y="1185"/>
                    <a:pt x="688" y="1223"/>
                    <a:pt x="673" y="1242"/>
                  </a:cubicBezTo>
                  <a:cubicBezTo>
                    <a:pt x="661" y="1256"/>
                    <a:pt x="642" y="1279"/>
                    <a:pt x="642" y="1313"/>
                  </a:cubicBezTo>
                  <a:cubicBezTo>
                    <a:pt x="640" y="1311"/>
                    <a:pt x="631" y="1297"/>
                    <a:pt x="630" y="1292"/>
                  </a:cubicBezTo>
                  <a:cubicBezTo>
                    <a:pt x="629" y="1287"/>
                    <a:pt x="628" y="1283"/>
                    <a:pt x="627" y="1279"/>
                  </a:cubicBezTo>
                  <a:cubicBezTo>
                    <a:pt x="628" y="1277"/>
                    <a:pt x="629" y="1274"/>
                    <a:pt x="632" y="1267"/>
                  </a:cubicBezTo>
                  <a:cubicBezTo>
                    <a:pt x="634" y="1262"/>
                    <a:pt x="636" y="1256"/>
                    <a:pt x="637" y="1255"/>
                  </a:cubicBezTo>
                  <a:cubicBezTo>
                    <a:pt x="638" y="1253"/>
                    <a:pt x="639" y="1250"/>
                    <a:pt x="641" y="1248"/>
                  </a:cubicBezTo>
                  <a:cubicBezTo>
                    <a:pt x="643" y="1244"/>
                    <a:pt x="645" y="1241"/>
                    <a:pt x="646" y="1237"/>
                  </a:cubicBezTo>
                  <a:cubicBezTo>
                    <a:pt x="650" y="1227"/>
                    <a:pt x="659" y="1212"/>
                    <a:pt x="662" y="1208"/>
                  </a:cubicBezTo>
                  <a:cubicBezTo>
                    <a:pt x="663" y="1207"/>
                    <a:pt x="663" y="1205"/>
                    <a:pt x="662" y="1205"/>
                  </a:cubicBezTo>
                  <a:cubicBezTo>
                    <a:pt x="661" y="1204"/>
                    <a:pt x="659" y="1204"/>
                    <a:pt x="659" y="1205"/>
                  </a:cubicBezTo>
                  <a:cubicBezTo>
                    <a:pt x="655" y="1211"/>
                    <a:pt x="646" y="1225"/>
                    <a:pt x="642" y="1235"/>
                  </a:cubicBezTo>
                  <a:cubicBezTo>
                    <a:pt x="641" y="1239"/>
                    <a:pt x="639" y="1242"/>
                    <a:pt x="637" y="1246"/>
                  </a:cubicBezTo>
                  <a:cubicBezTo>
                    <a:pt x="635" y="1248"/>
                    <a:pt x="634" y="1251"/>
                    <a:pt x="633" y="1253"/>
                  </a:cubicBezTo>
                  <a:cubicBezTo>
                    <a:pt x="632" y="1254"/>
                    <a:pt x="631" y="1259"/>
                    <a:pt x="628" y="1265"/>
                  </a:cubicBezTo>
                  <a:cubicBezTo>
                    <a:pt x="627" y="1267"/>
                    <a:pt x="627" y="1268"/>
                    <a:pt x="626" y="1270"/>
                  </a:cubicBezTo>
                  <a:cubicBezTo>
                    <a:pt x="626" y="1268"/>
                    <a:pt x="626" y="1266"/>
                    <a:pt x="626" y="1264"/>
                  </a:cubicBezTo>
                  <a:cubicBezTo>
                    <a:pt x="624" y="1241"/>
                    <a:pt x="632" y="1209"/>
                    <a:pt x="646" y="1194"/>
                  </a:cubicBezTo>
                  <a:cubicBezTo>
                    <a:pt x="647" y="1192"/>
                    <a:pt x="659" y="1179"/>
                    <a:pt x="653" y="1178"/>
                  </a:cubicBezTo>
                  <a:cubicBezTo>
                    <a:pt x="632" y="1203"/>
                    <a:pt x="599" y="1201"/>
                    <a:pt x="585" y="1172"/>
                  </a:cubicBezTo>
                  <a:cubicBezTo>
                    <a:pt x="606" y="1180"/>
                    <a:pt x="621" y="1170"/>
                    <a:pt x="622" y="1169"/>
                  </a:cubicBezTo>
                  <a:cubicBezTo>
                    <a:pt x="633" y="1164"/>
                    <a:pt x="638" y="1160"/>
                    <a:pt x="647" y="1150"/>
                  </a:cubicBezTo>
                  <a:cubicBezTo>
                    <a:pt x="654" y="1141"/>
                    <a:pt x="665" y="1095"/>
                    <a:pt x="667" y="1080"/>
                  </a:cubicBezTo>
                  <a:cubicBezTo>
                    <a:pt x="673" y="1032"/>
                    <a:pt x="690" y="989"/>
                    <a:pt x="702" y="945"/>
                  </a:cubicBezTo>
                  <a:cubicBezTo>
                    <a:pt x="706" y="930"/>
                    <a:pt x="724" y="829"/>
                    <a:pt x="699" y="833"/>
                  </a:cubicBezTo>
                  <a:cubicBezTo>
                    <a:pt x="699" y="852"/>
                    <a:pt x="701" y="871"/>
                    <a:pt x="699" y="891"/>
                  </a:cubicBezTo>
                  <a:cubicBezTo>
                    <a:pt x="696" y="915"/>
                    <a:pt x="687" y="952"/>
                    <a:pt x="679" y="979"/>
                  </a:cubicBezTo>
                  <a:cubicBezTo>
                    <a:pt x="674" y="976"/>
                    <a:pt x="668" y="973"/>
                    <a:pt x="665" y="967"/>
                  </a:cubicBezTo>
                  <a:cubicBezTo>
                    <a:pt x="651" y="940"/>
                    <a:pt x="669" y="933"/>
                    <a:pt x="669" y="912"/>
                  </a:cubicBezTo>
                  <a:cubicBezTo>
                    <a:pt x="668" y="889"/>
                    <a:pt x="629" y="851"/>
                    <a:pt x="623" y="851"/>
                  </a:cubicBezTo>
                  <a:cubicBezTo>
                    <a:pt x="637" y="851"/>
                    <a:pt x="660" y="859"/>
                    <a:pt x="667" y="870"/>
                  </a:cubicBezTo>
                  <a:cubicBezTo>
                    <a:pt x="669" y="873"/>
                    <a:pt x="672" y="877"/>
                    <a:pt x="674" y="880"/>
                  </a:cubicBezTo>
                  <a:cubicBezTo>
                    <a:pt x="677" y="883"/>
                    <a:pt x="683" y="882"/>
                    <a:pt x="682" y="879"/>
                  </a:cubicBezTo>
                  <a:cubicBezTo>
                    <a:pt x="669" y="853"/>
                    <a:pt x="648" y="836"/>
                    <a:pt x="626" y="818"/>
                  </a:cubicBezTo>
                  <a:cubicBezTo>
                    <a:pt x="581" y="781"/>
                    <a:pt x="540" y="760"/>
                    <a:pt x="503" y="725"/>
                  </a:cubicBezTo>
                  <a:cubicBezTo>
                    <a:pt x="507" y="722"/>
                    <a:pt x="510" y="719"/>
                    <a:pt x="511" y="715"/>
                  </a:cubicBezTo>
                  <a:cubicBezTo>
                    <a:pt x="515" y="707"/>
                    <a:pt x="521" y="695"/>
                    <a:pt x="523" y="692"/>
                  </a:cubicBezTo>
                  <a:cubicBezTo>
                    <a:pt x="525" y="698"/>
                    <a:pt x="533" y="709"/>
                    <a:pt x="536" y="714"/>
                  </a:cubicBezTo>
                  <a:cubicBezTo>
                    <a:pt x="538" y="717"/>
                    <a:pt x="549" y="730"/>
                    <a:pt x="553" y="726"/>
                  </a:cubicBezTo>
                  <a:cubicBezTo>
                    <a:pt x="555" y="725"/>
                    <a:pt x="546" y="717"/>
                    <a:pt x="545" y="715"/>
                  </a:cubicBezTo>
                  <a:cubicBezTo>
                    <a:pt x="541" y="708"/>
                    <a:pt x="535" y="700"/>
                    <a:pt x="531" y="693"/>
                  </a:cubicBezTo>
                  <a:cubicBezTo>
                    <a:pt x="525" y="685"/>
                    <a:pt x="527" y="669"/>
                    <a:pt x="521" y="669"/>
                  </a:cubicBezTo>
                  <a:cubicBezTo>
                    <a:pt x="517" y="670"/>
                    <a:pt x="518" y="682"/>
                    <a:pt x="518" y="685"/>
                  </a:cubicBezTo>
                  <a:cubicBezTo>
                    <a:pt x="518" y="689"/>
                    <a:pt x="511" y="694"/>
                    <a:pt x="510" y="697"/>
                  </a:cubicBezTo>
                  <a:cubicBezTo>
                    <a:pt x="506" y="704"/>
                    <a:pt x="504" y="710"/>
                    <a:pt x="500" y="715"/>
                  </a:cubicBezTo>
                  <a:cubicBezTo>
                    <a:pt x="497" y="718"/>
                    <a:pt x="488" y="726"/>
                    <a:pt x="485" y="730"/>
                  </a:cubicBezTo>
                  <a:cubicBezTo>
                    <a:pt x="485" y="723"/>
                    <a:pt x="485" y="723"/>
                    <a:pt x="485" y="723"/>
                  </a:cubicBezTo>
                  <a:cubicBezTo>
                    <a:pt x="485" y="720"/>
                    <a:pt x="486" y="718"/>
                    <a:pt x="486" y="716"/>
                  </a:cubicBezTo>
                  <a:cubicBezTo>
                    <a:pt x="487" y="712"/>
                    <a:pt x="488" y="708"/>
                    <a:pt x="489" y="704"/>
                  </a:cubicBezTo>
                  <a:cubicBezTo>
                    <a:pt x="489" y="699"/>
                    <a:pt x="492" y="686"/>
                    <a:pt x="485" y="687"/>
                  </a:cubicBezTo>
                  <a:cubicBezTo>
                    <a:pt x="483" y="704"/>
                    <a:pt x="478" y="725"/>
                    <a:pt x="474" y="734"/>
                  </a:cubicBezTo>
                  <a:cubicBezTo>
                    <a:pt x="467" y="748"/>
                    <a:pt x="468" y="767"/>
                    <a:pt x="474" y="775"/>
                  </a:cubicBezTo>
                  <a:cubicBezTo>
                    <a:pt x="465" y="772"/>
                    <a:pt x="455" y="757"/>
                    <a:pt x="452" y="753"/>
                  </a:cubicBezTo>
                  <a:cubicBezTo>
                    <a:pt x="449" y="747"/>
                    <a:pt x="451" y="740"/>
                    <a:pt x="452" y="735"/>
                  </a:cubicBezTo>
                  <a:cubicBezTo>
                    <a:pt x="453" y="725"/>
                    <a:pt x="458" y="708"/>
                    <a:pt x="449" y="705"/>
                  </a:cubicBezTo>
                  <a:cubicBezTo>
                    <a:pt x="448" y="720"/>
                    <a:pt x="446" y="737"/>
                    <a:pt x="442" y="741"/>
                  </a:cubicBezTo>
                  <a:cubicBezTo>
                    <a:pt x="437" y="747"/>
                    <a:pt x="429" y="757"/>
                    <a:pt x="417" y="762"/>
                  </a:cubicBezTo>
                  <a:cubicBezTo>
                    <a:pt x="421" y="754"/>
                    <a:pt x="424" y="744"/>
                    <a:pt x="426" y="735"/>
                  </a:cubicBezTo>
                  <a:cubicBezTo>
                    <a:pt x="428" y="726"/>
                    <a:pt x="425" y="711"/>
                    <a:pt x="418" y="716"/>
                  </a:cubicBezTo>
                  <a:cubicBezTo>
                    <a:pt x="422" y="727"/>
                    <a:pt x="416" y="745"/>
                    <a:pt x="412" y="754"/>
                  </a:cubicBezTo>
                  <a:cubicBezTo>
                    <a:pt x="405" y="767"/>
                    <a:pt x="401" y="788"/>
                    <a:pt x="401" y="803"/>
                  </a:cubicBezTo>
                  <a:cubicBezTo>
                    <a:pt x="396" y="800"/>
                    <a:pt x="389" y="773"/>
                    <a:pt x="389" y="764"/>
                  </a:cubicBezTo>
                  <a:cubicBezTo>
                    <a:pt x="390" y="754"/>
                    <a:pt x="391" y="730"/>
                    <a:pt x="389" y="725"/>
                  </a:cubicBezTo>
                  <a:cubicBezTo>
                    <a:pt x="385" y="715"/>
                    <a:pt x="381" y="722"/>
                    <a:pt x="381" y="736"/>
                  </a:cubicBezTo>
                  <a:cubicBezTo>
                    <a:pt x="381" y="752"/>
                    <a:pt x="373" y="757"/>
                    <a:pt x="363" y="769"/>
                  </a:cubicBezTo>
                  <a:cubicBezTo>
                    <a:pt x="363" y="769"/>
                    <a:pt x="362" y="764"/>
                    <a:pt x="362" y="763"/>
                  </a:cubicBezTo>
                  <a:cubicBezTo>
                    <a:pt x="362" y="761"/>
                    <a:pt x="359" y="758"/>
                    <a:pt x="358" y="757"/>
                  </a:cubicBezTo>
                  <a:cubicBezTo>
                    <a:pt x="356" y="752"/>
                    <a:pt x="346" y="749"/>
                    <a:pt x="342" y="749"/>
                  </a:cubicBezTo>
                  <a:cubicBezTo>
                    <a:pt x="337" y="749"/>
                    <a:pt x="333" y="750"/>
                    <a:pt x="329" y="751"/>
                  </a:cubicBezTo>
                  <a:cubicBezTo>
                    <a:pt x="325" y="752"/>
                    <a:pt x="322" y="755"/>
                    <a:pt x="316" y="756"/>
                  </a:cubicBezTo>
                  <a:cubicBezTo>
                    <a:pt x="302" y="756"/>
                    <a:pt x="302" y="752"/>
                    <a:pt x="294" y="753"/>
                  </a:cubicBezTo>
                  <a:cubicBezTo>
                    <a:pt x="285" y="755"/>
                    <a:pt x="294" y="760"/>
                    <a:pt x="295" y="761"/>
                  </a:cubicBezTo>
                  <a:cubicBezTo>
                    <a:pt x="301" y="768"/>
                    <a:pt x="303" y="772"/>
                    <a:pt x="303" y="782"/>
                  </a:cubicBezTo>
                  <a:cubicBezTo>
                    <a:pt x="302" y="791"/>
                    <a:pt x="296" y="795"/>
                    <a:pt x="290" y="801"/>
                  </a:cubicBezTo>
                  <a:cubicBezTo>
                    <a:pt x="290" y="798"/>
                    <a:pt x="290" y="795"/>
                    <a:pt x="289" y="793"/>
                  </a:cubicBezTo>
                  <a:cubicBezTo>
                    <a:pt x="287" y="787"/>
                    <a:pt x="283" y="782"/>
                    <a:pt x="276" y="779"/>
                  </a:cubicBezTo>
                  <a:cubicBezTo>
                    <a:pt x="270" y="776"/>
                    <a:pt x="265" y="777"/>
                    <a:pt x="262" y="778"/>
                  </a:cubicBezTo>
                  <a:cubicBezTo>
                    <a:pt x="258" y="779"/>
                    <a:pt x="256" y="782"/>
                    <a:pt x="254" y="784"/>
                  </a:cubicBezTo>
                  <a:cubicBezTo>
                    <a:pt x="254" y="784"/>
                    <a:pt x="253" y="785"/>
                    <a:pt x="253" y="786"/>
                  </a:cubicBezTo>
                  <a:cubicBezTo>
                    <a:pt x="250" y="790"/>
                    <a:pt x="250" y="794"/>
                    <a:pt x="250" y="798"/>
                  </a:cubicBezTo>
                  <a:cubicBezTo>
                    <a:pt x="250" y="799"/>
                    <a:pt x="250" y="801"/>
                    <a:pt x="250" y="802"/>
                  </a:cubicBezTo>
                  <a:cubicBezTo>
                    <a:pt x="246" y="802"/>
                    <a:pt x="242" y="800"/>
                    <a:pt x="239" y="798"/>
                  </a:cubicBezTo>
                  <a:cubicBezTo>
                    <a:pt x="236" y="795"/>
                    <a:pt x="234" y="792"/>
                    <a:pt x="231" y="787"/>
                  </a:cubicBezTo>
                  <a:cubicBezTo>
                    <a:pt x="228" y="783"/>
                    <a:pt x="228" y="778"/>
                    <a:pt x="229" y="774"/>
                  </a:cubicBezTo>
                  <a:cubicBezTo>
                    <a:pt x="231" y="769"/>
                    <a:pt x="230" y="767"/>
                    <a:pt x="227" y="767"/>
                  </a:cubicBezTo>
                  <a:cubicBezTo>
                    <a:pt x="224" y="767"/>
                    <a:pt x="222" y="773"/>
                    <a:pt x="222" y="779"/>
                  </a:cubicBezTo>
                  <a:cubicBezTo>
                    <a:pt x="215" y="787"/>
                    <a:pt x="200" y="790"/>
                    <a:pt x="189" y="790"/>
                  </a:cubicBezTo>
                  <a:cubicBezTo>
                    <a:pt x="185" y="779"/>
                    <a:pt x="171" y="777"/>
                    <a:pt x="172" y="786"/>
                  </a:cubicBezTo>
                  <a:cubicBezTo>
                    <a:pt x="178" y="789"/>
                    <a:pt x="183" y="792"/>
                    <a:pt x="181" y="807"/>
                  </a:cubicBezTo>
                  <a:cubicBezTo>
                    <a:pt x="181" y="813"/>
                    <a:pt x="176" y="822"/>
                    <a:pt x="173" y="826"/>
                  </a:cubicBezTo>
                  <a:cubicBezTo>
                    <a:pt x="161" y="840"/>
                    <a:pt x="143" y="847"/>
                    <a:pt x="130" y="841"/>
                  </a:cubicBezTo>
                  <a:cubicBezTo>
                    <a:pt x="131" y="839"/>
                    <a:pt x="132" y="838"/>
                    <a:pt x="133" y="837"/>
                  </a:cubicBezTo>
                  <a:cubicBezTo>
                    <a:pt x="136" y="829"/>
                    <a:pt x="134" y="818"/>
                    <a:pt x="128" y="812"/>
                  </a:cubicBezTo>
                  <a:cubicBezTo>
                    <a:pt x="123" y="807"/>
                    <a:pt x="117" y="805"/>
                    <a:pt x="110" y="807"/>
                  </a:cubicBezTo>
                  <a:cubicBezTo>
                    <a:pt x="100" y="810"/>
                    <a:pt x="95" y="815"/>
                    <a:pt x="92" y="820"/>
                  </a:cubicBezTo>
                  <a:cubicBezTo>
                    <a:pt x="83" y="809"/>
                    <a:pt x="88" y="798"/>
                    <a:pt x="91" y="791"/>
                  </a:cubicBezTo>
                  <a:cubicBezTo>
                    <a:pt x="96" y="782"/>
                    <a:pt x="105" y="776"/>
                    <a:pt x="116" y="769"/>
                  </a:cubicBezTo>
                  <a:cubicBezTo>
                    <a:pt x="116" y="769"/>
                    <a:pt x="117" y="769"/>
                    <a:pt x="117" y="769"/>
                  </a:cubicBezTo>
                  <a:cubicBezTo>
                    <a:pt x="125" y="769"/>
                    <a:pt x="133" y="775"/>
                    <a:pt x="133" y="771"/>
                  </a:cubicBezTo>
                  <a:cubicBezTo>
                    <a:pt x="134" y="769"/>
                    <a:pt x="128" y="767"/>
                    <a:pt x="121" y="766"/>
                  </a:cubicBezTo>
                  <a:cubicBezTo>
                    <a:pt x="140" y="754"/>
                    <a:pt x="148" y="746"/>
                    <a:pt x="158" y="735"/>
                  </a:cubicBezTo>
                  <a:cubicBezTo>
                    <a:pt x="167" y="725"/>
                    <a:pt x="174" y="719"/>
                    <a:pt x="167" y="716"/>
                  </a:cubicBezTo>
                  <a:cubicBezTo>
                    <a:pt x="153" y="725"/>
                    <a:pt x="144" y="737"/>
                    <a:pt x="131" y="746"/>
                  </a:cubicBezTo>
                  <a:cubicBezTo>
                    <a:pt x="124" y="752"/>
                    <a:pt x="115" y="757"/>
                    <a:pt x="106" y="763"/>
                  </a:cubicBezTo>
                  <a:cubicBezTo>
                    <a:pt x="105" y="763"/>
                    <a:pt x="104" y="763"/>
                    <a:pt x="102" y="763"/>
                  </a:cubicBezTo>
                  <a:cubicBezTo>
                    <a:pt x="100" y="762"/>
                    <a:pt x="101" y="759"/>
                    <a:pt x="97" y="759"/>
                  </a:cubicBezTo>
                  <a:cubicBezTo>
                    <a:pt x="93" y="759"/>
                    <a:pt x="95" y="763"/>
                    <a:pt x="96" y="764"/>
                  </a:cubicBezTo>
                  <a:cubicBezTo>
                    <a:pt x="96" y="766"/>
                    <a:pt x="98" y="767"/>
                    <a:pt x="101" y="767"/>
                  </a:cubicBezTo>
                  <a:cubicBezTo>
                    <a:pt x="92" y="774"/>
                    <a:pt x="84" y="780"/>
                    <a:pt x="81" y="786"/>
                  </a:cubicBezTo>
                  <a:cubicBezTo>
                    <a:pt x="80" y="790"/>
                    <a:pt x="79" y="793"/>
                    <a:pt x="78" y="797"/>
                  </a:cubicBezTo>
                  <a:cubicBezTo>
                    <a:pt x="74" y="794"/>
                    <a:pt x="67" y="795"/>
                    <a:pt x="61" y="792"/>
                  </a:cubicBezTo>
                  <a:cubicBezTo>
                    <a:pt x="54" y="789"/>
                    <a:pt x="50" y="786"/>
                    <a:pt x="49" y="778"/>
                  </a:cubicBezTo>
                  <a:cubicBezTo>
                    <a:pt x="49" y="777"/>
                    <a:pt x="49" y="777"/>
                    <a:pt x="50" y="776"/>
                  </a:cubicBezTo>
                  <a:cubicBezTo>
                    <a:pt x="56" y="775"/>
                    <a:pt x="62" y="772"/>
                    <a:pt x="67" y="768"/>
                  </a:cubicBezTo>
                  <a:cubicBezTo>
                    <a:pt x="71" y="763"/>
                    <a:pt x="72" y="758"/>
                    <a:pt x="71" y="753"/>
                  </a:cubicBezTo>
                  <a:cubicBezTo>
                    <a:pt x="69" y="740"/>
                    <a:pt x="62" y="735"/>
                    <a:pt x="57" y="732"/>
                  </a:cubicBezTo>
                  <a:cubicBezTo>
                    <a:pt x="53" y="730"/>
                    <a:pt x="49" y="730"/>
                    <a:pt x="45" y="730"/>
                  </a:cubicBezTo>
                  <a:cubicBezTo>
                    <a:pt x="45" y="729"/>
                    <a:pt x="45" y="729"/>
                    <a:pt x="45" y="728"/>
                  </a:cubicBezTo>
                  <a:cubicBezTo>
                    <a:pt x="45" y="719"/>
                    <a:pt x="65" y="711"/>
                    <a:pt x="72" y="711"/>
                  </a:cubicBezTo>
                  <a:cubicBezTo>
                    <a:pt x="76" y="711"/>
                    <a:pt x="78" y="711"/>
                    <a:pt x="81" y="712"/>
                  </a:cubicBezTo>
                  <a:cubicBezTo>
                    <a:pt x="81" y="712"/>
                    <a:pt x="81" y="712"/>
                    <a:pt x="81" y="712"/>
                  </a:cubicBezTo>
                  <a:cubicBezTo>
                    <a:pt x="83" y="713"/>
                    <a:pt x="85" y="714"/>
                    <a:pt x="87" y="716"/>
                  </a:cubicBezTo>
                  <a:cubicBezTo>
                    <a:pt x="89" y="717"/>
                    <a:pt x="90" y="721"/>
                    <a:pt x="91" y="722"/>
                  </a:cubicBezTo>
                  <a:cubicBezTo>
                    <a:pt x="91" y="723"/>
                    <a:pt x="92" y="724"/>
                    <a:pt x="93" y="724"/>
                  </a:cubicBezTo>
                  <a:cubicBezTo>
                    <a:pt x="93" y="724"/>
                    <a:pt x="96" y="725"/>
                    <a:pt x="97" y="723"/>
                  </a:cubicBezTo>
                  <a:cubicBezTo>
                    <a:pt x="97" y="720"/>
                    <a:pt x="96" y="718"/>
                    <a:pt x="95" y="715"/>
                  </a:cubicBezTo>
                  <a:cubicBezTo>
                    <a:pt x="105" y="717"/>
                    <a:pt x="116" y="717"/>
                    <a:pt x="129" y="710"/>
                  </a:cubicBezTo>
                  <a:cubicBezTo>
                    <a:pt x="139" y="705"/>
                    <a:pt x="171" y="695"/>
                    <a:pt x="148" y="695"/>
                  </a:cubicBezTo>
                  <a:cubicBezTo>
                    <a:pt x="139" y="695"/>
                    <a:pt x="126" y="703"/>
                    <a:pt x="116" y="706"/>
                  </a:cubicBezTo>
                  <a:cubicBezTo>
                    <a:pt x="117" y="705"/>
                    <a:pt x="118" y="703"/>
                    <a:pt x="118" y="702"/>
                  </a:cubicBezTo>
                  <a:cubicBezTo>
                    <a:pt x="118" y="701"/>
                    <a:pt x="116" y="699"/>
                    <a:pt x="115" y="699"/>
                  </a:cubicBezTo>
                  <a:cubicBezTo>
                    <a:pt x="114" y="699"/>
                    <a:pt x="113" y="700"/>
                    <a:pt x="112" y="701"/>
                  </a:cubicBezTo>
                  <a:cubicBezTo>
                    <a:pt x="110" y="703"/>
                    <a:pt x="109" y="705"/>
                    <a:pt x="107" y="707"/>
                  </a:cubicBezTo>
                  <a:cubicBezTo>
                    <a:pt x="99" y="707"/>
                    <a:pt x="91" y="707"/>
                    <a:pt x="84" y="705"/>
                  </a:cubicBezTo>
                  <a:cubicBezTo>
                    <a:pt x="81" y="704"/>
                    <a:pt x="78" y="703"/>
                    <a:pt x="75" y="703"/>
                  </a:cubicBezTo>
                  <a:cubicBezTo>
                    <a:pt x="71" y="702"/>
                    <a:pt x="68" y="701"/>
                    <a:pt x="66" y="700"/>
                  </a:cubicBezTo>
                  <a:cubicBezTo>
                    <a:pt x="60" y="698"/>
                    <a:pt x="62" y="685"/>
                    <a:pt x="64" y="678"/>
                  </a:cubicBezTo>
                  <a:cubicBezTo>
                    <a:pt x="65" y="675"/>
                    <a:pt x="69" y="670"/>
                    <a:pt x="72" y="667"/>
                  </a:cubicBezTo>
                  <a:cubicBezTo>
                    <a:pt x="73" y="666"/>
                    <a:pt x="79" y="665"/>
                    <a:pt x="82" y="664"/>
                  </a:cubicBezTo>
                  <a:cubicBezTo>
                    <a:pt x="82" y="665"/>
                    <a:pt x="83" y="667"/>
                    <a:pt x="85" y="669"/>
                  </a:cubicBezTo>
                  <a:cubicBezTo>
                    <a:pt x="89" y="675"/>
                    <a:pt x="97" y="678"/>
                    <a:pt x="105" y="678"/>
                  </a:cubicBezTo>
                  <a:cubicBezTo>
                    <a:pt x="106" y="678"/>
                    <a:pt x="108" y="678"/>
                    <a:pt x="109" y="678"/>
                  </a:cubicBezTo>
                  <a:cubicBezTo>
                    <a:pt x="115" y="677"/>
                    <a:pt x="120" y="672"/>
                    <a:pt x="122" y="665"/>
                  </a:cubicBezTo>
                  <a:cubicBezTo>
                    <a:pt x="122" y="663"/>
                    <a:pt x="122" y="660"/>
                    <a:pt x="122" y="658"/>
                  </a:cubicBezTo>
                  <a:cubicBezTo>
                    <a:pt x="129" y="658"/>
                    <a:pt x="133" y="660"/>
                    <a:pt x="138" y="664"/>
                  </a:cubicBezTo>
                  <a:cubicBezTo>
                    <a:pt x="144" y="669"/>
                    <a:pt x="144" y="673"/>
                    <a:pt x="147" y="677"/>
                  </a:cubicBezTo>
                  <a:cubicBezTo>
                    <a:pt x="151" y="682"/>
                    <a:pt x="163" y="693"/>
                    <a:pt x="205" y="681"/>
                  </a:cubicBezTo>
                  <a:cubicBezTo>
                    <a:pt x="221" y="677"/>
                    <a:pt x="244" y="663"/>
                    <a:pt x="259" y="653"/>
                  </a:cubicBezTo>
                  <a:cubicBezTo>
                    <a:pt x="269" y="647"/>
                    <a:pt x="336" y="605"/>
                    <a:pt x="352" y="599"/>
                  </a:cubicBezTo>
                  <a:cubicBezTo>
                    <a:pt x="356" y="600"/>
                    <a:pt x="361" y="600"/>
                    <a:pt x="364" y="600"/>
                  </a:cubicBezTo>
                  <a:cubicBezTo>
                    <a:pt x="367" y="599"/>
                    <a:pt x="376" y="598"/>
                    <a:pt x="379" y="597"/>
                  </a:cubicBezTo>
                  <a:cubicBezTo>
                    <a:pt x="383" y="596"/>
                    <a:pt x="388" y="594"/>
                    <a:pt x="392" y="593"/>
                  </a:cubicBezTo>
                  <a:cubicBezTo>
                    <a:pt x="392" y="593"/>
                    <a:pt x="393" y="593"/>
                    <a:pt x="393" y="593"/>
                  </a:cubicBezTo>
                  <a:cubicBezTo>
                    <a:pt x="374" y="604"/>
                    <a:pt x="355" y="614"/>
                    <a:pt x="333" y="626"/>
                  </a:cubicBezTo>
                  <a:cubicBezTo>
                    <a:pt x="332" y="626"/>
                    <a:pt x="312" y="636"/>
                    <a:pt x="305" y="642"/>
                  </a:cubicBezTo>
                  <a:cubicBezTo>
                    <a:pt x="299" y="648"/>
                    <a:pt x="313" y="643"/>
                    <a:pt x="326" y="637"/>
                  </a:cubicBezTo>
                  <a:cubicBezTo>
                    <a:pt x="340" y="630"/>
                    <a:pt x="355" y="621"/>
                    <a:pt x="368" y="615"/>
                  </a:cubicBezTo>
                  <a:cubicBezTo>
                    <a:pt x="379" y="610"/>
                    <a:pt x="391" y="602"/>
                    <a:pt x="401" y="596"/>
                  </a:cubicBezTo>
                  <a:cubicBezTo>
                    <a:pt x="414" y="600"/>
                    <a:pt x="431" y="602"/>
                    <a:pt x="443" y="600"/>
                  </a:cubicBezTo>
                  <a:cubicBezTo>
                    <a:pt x="453" y="599"/>
                    <a:pt x="463" y="595"/>
                    <a:pt x="470" y="592"/>
                  </a:cubicBezTo>
                  <a:cubicBezTo>
                    <a:pt x="480" y="588"/>
                    <a:pt x="488" y="585"/>
                    <a:pt x="495" y="577"/>
                  </a:cubicBezTo>
                  <a:cubicBezTo>
                    <a:pt x="495" y="593"/>
                    <a:pt x="493" y="610"/>
                    <a:pt x="490" y="629"/>
                  </a:cubicBezTo>
                  <a:cubicBezTo>
                    <a:pt x="489" y="633"/>
                    <a:pt x="484" y="650"/>
                    <a:pt x="482" y="654"/>
                  </a:cubicBezTo>
                  <a:cubicBezTo>
                    <a:pt x="481" y="658"/>
                    <a:pt x="478" y="662"/>
                    <a:pt x="476" y="665"/>
                  </a:cubicBezTo>
                  <a:cubicBezTo>
                    <a:pt x="474" y="667"/>
                    <a:pt x="465" y="672"/>
                    <a:pt x="465" y="673"/>
                  </a:cubicBezTo>
                  <a:cubicBezTo>
                    <a:pt x="463" y="679"/>
                    <a:pt x="469" y="681"/>
                    <a:pt x="475" y="680"/>
                  </a:cubicBezTo>
                  <a:cubicBezTo>
                    <a:pt x="483" y="679"/>
                    <a:pt x="489" y="676"/>
                    <a:pt x="494" y="674"/>
                  </a:cubicBezTo>
                  <a:cubicBezTo>
                    <a:pt x="503" y="670"/>
                    <a:pt x="520" y="663"/>
                    <a:pt x="529" y="650"/>
                  </a:cubicBezTo>
                  <a:cubicBezTo>
                    <a:pt x="543" y="650"/>
                    <a:pt x="563" y="643"/>
                    <a:pt x="568" y="640"/>
                  </a:cubicBezTo>
                  <a:cubicBezTo>
                    <a:pt x="583" y="630"/>
                    <a:pt x="596" y="618"/>
                    <a:pt x="601" y="611"/>
                  </a:cubicBezTo>
                  <a:cubicBezTo>
                    <a:pt x="603" y="609"/>
                    <a:pt x="607" y="603"/>
                    <a:pt x="610" y="599"/>
                  </a:cubicBezTo>
                  <a:cubicBezTo>
                    <a:pt x="611" y="619"/>
                    <a:pt x="617" y="643"/>
                    <a:pt x="624" y="656"/>
                  </a:cubicBezTo>
                  <a:cubicBezTo>
                    <a:pt x="632" y="671"/>
                    <a:pt x="658" y="708"/>
                    <a:pt x="682" y="707"/>
                  </a:cubicBezTo>
                  <a:cubicBezTo>
                    <a:pt x="684" y="700"/>
                    <a:pt x="674" y="696"/>
                    <a:pt x="672" y="690"/>
                  </a:cubicBezTo>
                  <a:cubicBezTo>
                    <a:pt x="669" y="674"/>
                    <a:pt x="672" y="666"/>
                    <a:pt x="675" y="655"/>
                  </a:cubicBezTo>
                  <a:cubicBezTo>
                    <a:pt x="678" y="645"/>
                    <a:pt x="684" y="627"/>
                    <a:pt x="686" y="618"/>
                  </a:cubicBezTo>
                  <a:cubicBezTo>
                    <a:pt x="693" y="625"/>
                    <a:pt x="700" y="633"/>
                    <a:pt x="708" y="639"/>
                  </a:cubicBezTo>
                  <a:cubicBezTo>
                    <a:pt x="717" y="651"/>
                    <a:pt x="734" y="679"/>
                    <a:pt x="740" y="691"/>
                  </a:cubicBezTo>
                  <a:cubicBezTo>
                    <a:pt x="744" y="700"/>
                    <a:pt x="753" y="713"/>
                    <a:pt x="760" y="729"/>
                  </a:cubicBezTo>
                  <a:cubicBezTo>
                    <a:pt x="764" y="739"/>
                    <a:pt x="778" y="761"/>
                    <a:pt x="774" y="745"/>
                  </a:cubicBezTo>
                  <a:cubicBezTo>
                    <a:pt x="772" y="733"/>
                    <a:pt x="760" y="706"/>
                    <a:pt x="754" y="694"/>
                  </a:cubicBezTo>
                  <a:cubicBezTo>
                    <a:pt x="746" y="680"/>
                    <a:pt x="736" y="665"/>
                    <a:pt x="727" y="650"/>
                  </a:cubicBezTo>
                  <a:cubicBezTo>
                    <a:pt x="733" y="652"/>
                    <a:pt x="739" y="654"/>
                    <a:pt x="744" y="656"/>
                  </a:cubicBezTo>
                  <a:cubicBezTo>
                    <a:pt x="774" y="699"/>
                    <a:pt x="792" y="759"/>
                    <a:pt x="816" y="807"/>
                  </a:cubicBezTo>
                  <a:cubicBezTo>
                    <a:pt x="842" y="859"/>
                    <a:pt x="867" y="912"/>
                    <a:pt x="903" y="964"/>
                  </a:cubicBezTo>
                  <a:cubicBezTo>
                    <a:pt x="908" y="972"/>
                    <a:pt x="924" y="989"/>
                    <a:pt x="930" y="995"/>
                  </a:cubicBezTo>
                  <a:cubicBezTo>
                    <a:pt x="939" y="1004"/>
                    <a:pt x="965" y="1024"/>
                    <a:pt x="986" y="1009"/>
                  </a:cubicBezTo>
                  <a:cubicBezTo>
                    <a:pt x="1002" y="997"/>
                    <a:pt x="1008" y="980"/>
                    <a:pt x="1006" y="954"/>
                  </a:cubicBezTo>
                  <a:cubicBezTo>
                    <a:pt x="1003" y="954"/>
                    <a:pt x="1000" y="954"/>
                    <a:pt x="996" y="953"/>
                  </a:cubicBezTo>
                  <a:cubicBezTo>
                    <a:pt x="996" y="953"/>
                    <a:pt x="996" y="953"/>
                    <a:pt x="996" y="953"/>
                  </a:cubicBezTo>
                  <a:cubicBezTo>
                    <a:pt x="1000" y="989"/>
                    <a:pt x="976" y="1023"/>
                    <a:pt x="938" y="987"/>
                  </a:cubicBezTo>
                  <a:cubicBezTo>
                    <a:pt x="923" y="971"/>
                    <a:pt x="910" y="953"/>
                    <a:pt x="900" y="939"/>
                  </a:cubicBezTo>
                  <a:cubicBezTo>
                    <a:pt x="894" y="930"/>
                    <a:pt x="869" y="885"/>
                    <a:pt x="865" y="876"/>
                  </a:cubicBezTo>
                  <a:cubicBezTo>
                    <a:pt x="851" y="851"/>
                    <a:pt x="834" y="821"/>
                    <a:pt x="823" y="796"/>
                  </a:cubicBezTo>
                  <a:cubicBezTo>
                    <a:pt x="813" y="774"/>
                    <a:pt x="795" y="733"/>
                    <a:pt x="785" y="711"/>
                  </a:cubicBezTo>
                  <a:cubicBezTo>
                    <a:pt x="778" y="694"/>
                    <a:pt x="766" y="675"/>
                    <a:pt x="760" y="658"/>
                  </a:cubicBezTo>
                  <a:cubicBezTo>
                    <a:pt x="769" y="659"/>
                    <a:pt x="779" y="659"/>
                    <a:pt x="789" y="658"/>
                  </a:cubicBezTo>
                  <a:cubicBezTo>
                    <a:pt x="788" y="650"/>
                    <a:pt x="772" y="641"/>
                    <a:pt x="769" y="635"/>
                  </a:cubicBezTo>
                  <a:cubicBezTo>
                    <a:pt x="761" y="623"/>
                    <a:pt x="752" y="604"/>
                    <a:pt x="745" y="594"/>
                  </a:cubicBezTo>
                  <a:cubicBezTo>
                    <a:pt x="757" y="584"/>
                    <a:pt x="771" y="553"/>
                    <a:pt x="773" y="536"/>
                  </a:cubicBezTo>
                  <a:cubicBezTo>
                    <a:pt x="774" y="522"/>
                    <a:pt x="777" y="482"/>
                    <a:pt x="773" y="471"/>
                  </a:cubicBezTo>
                  <a:cubicBezTo>
                    <a:pt x="784" y="477"/>
                    <a:pt x="794" y="486"/>
                    <a:pt x="809" y="489"/>
                  </a:cubicBezTo>
                  <a:cubicBezTo>
                    <a:pt x="817" y="491"/>
                    <a:pt x="826" y="492"/>
                    <a:pt x="834" y="491"/>
                  </a:cubicBezTo>
                  <a:cubicBezTo>
                    <a:pt x="839" y="491"/>
                    <a:pt x="849" y="488"/>
                    <a:pt x="851" y="485"/>
                  </a:cubicBezTo>
                  <a:cubicBezTo>
                    <a:pt x="851" y="482"/>
                    <a:pt x="847" y="479"/>
                    <a:pt x="842" y="478"/>
                  </a:cubicBezTo>
                  <a:cubicBezTo>
                    <a:pt x="834" y="476"/>
                    <a:pt x="832" y="472"/>
                    <a:pt x="829" y="468"/>
                  </a:cubicBezTo>
                  <a:cubicBezTo>
                    <a:pt x="826" y="464"/>
                    <a:pt x="822" y="457"/>
                    <a:pt x="820" y="450"/>
                  </a:cubicBezTo>
                  <a:cubicBezTo>
                    <a:pt x="816" y="440"/>
                    <a:pt x="808" y="417"/>
                    <a:pt x="803" y="407"/>
                  </a:cubicBezTo>
                  <a:cubicBezTo>
                    <a:pt x="803" y="397"/>
                    <a:pt x="807" y="396"/>
                    <a:pt x="808" y="389"/>
                  </a:cubicBezTo>
                  <a:cubicBezTo>
                    <a:pt x="809" y="383"/>
                    <a:pt x="809" y="375"/>
                    <a:pt x="809" y="370"/>
                  </a:cubicBezTo>
                  <a:cubicBezTo>
                    <a:pt x="808" y="363"/>
                    <a:pt x="807" y="359"/>
                    <a:pt x="804" y="352"/>
                  </a:cubicBezTo>
                  <a:cubicBezTo>
                    <a:pt x="814" y="331"/>
                    <a:pt x="810" y="313"/>
                    <a:pt x="808" y="304"/>
                  </a:cubicBezTo>
                  <a:cubicBezTo>
                    <a:pt x="807" y="299"/>
                    <a:pt x="803" y="295"/>
                    <a:pt x="800" y="291"/>
                  </a:cubicBezTo>
                  <a:cubicBezTo>
                    <a:pt x="800" y="289"/>
                    <a:pt x="798" y="289"/>
                    <a:pt x="805" y="285"/>
                  </a:cubicBezTo>
                  <a:cubicBezTo>
                    <a:pt x="808" y="283"/>
                    <a:pt x="816" y="278"/>
                    <a:pt x="818" y="275"/>
                  </a:cubicBezTo>
                  <a:cubicBezTo>
                    <a:pt x="819" y="272"/>
                    <a:pt x="822" y="269"/>
                    <a:pt x="823" y="266"/>
                  </a:cubicBezTo>
                  <a:cubicBezTo>
                    <a:pt x="826" y="255"/>
                    <a:pt x="827" y="250"/>
                    <a:pt x="827" y="241"/>
                  </a:cubicBezTo>
                  <a:cubicBezTo>
                    <a:pt x="827" y="233"/>
                    <a:pt x="826" y="225"/>
                    <a:pt x="825" y="217"/>
                  </a:cubicBezTo>
                  <a:cubicBezTo>
                    <a:pt x="825" y="219"/>
                    <a:pt x="818" y="228"/>
                    <a:pt x="817" y="229"/>
                  </a:cubicBezTo>
                  <a:cubicBezTo>
                    <a:pt x="813" y="233"/>
                    <a:pt x="810" y="236"/>
                    <a:pt x="805" y="237"/>
                  </a:cubicBezTo>
                  <a:cubicBezTo>
                    <a:pt x="783" y="237"/>
                    <a:pt x="772" y="232"/>
                    <a:pt x="765" y="225"/>
                  </a:cubicBezTo>
                  <a:cubicBezTo>
                    <a:pt x="773" y="220"/>
                    <a:pt x="776" y="214"/>
                    <a:pt x="779" y="209"/>
                  </a:cubicBezTo>
                  <a:cubicBezTo>
                    <a:pt x="784" y="202"/>
                    <a:pt x="785" y="187"/>
                    <a:pt x="784" y="172"/>
                  </a:cubicBezTo>
                  <a:cubicBezTo>
                    <a:pt x="783" y="157"/>
                    <a:pt x="780" y="142"/>
                    <a:pt x="777" y="135"/>
                  </a:cubicBezTo>
                  <a:cubicBezTo>
                    <a:pt x="773" y="125"/>
                    <a:pt x="765" y="126"/>
                    <a:pt x="757" y="127"/>
                  </a:cubicBezTo>
                  <a:cubicBezTo>
                    <a:pt x="750" y="129"/>
                    <a:pt x="742" y="132"/>
                    <a:pt x="736" y="135"/>
                  </a:cubicBezTo>
                  <a:cubicBezTo>
                    <a:pt x="734" y="133"/>
                    <a:pt x="732" y="132"/>
                    <a:pt x="730" y="130"/>
                  </a:cubicBezTo>
                  <a:cubicBezTo>
                    <a:pt x="731" y="102"/>
                    <a:pt x="740" y="72"/>
                    <a:pt x="749" y="47"/>
                  </a:cubicBezTo>
                  <a:cubicBezTo>
                    <a:pt x="752" y="36"/>
                    <a:pt x="760" y="24"/>
                    <a:pt x="761" y="19"/>
                  </a:cubicBezTo>
                  <a:cubicBezTo>
                    <a:pt x="762" y="16"/>
                    <a:pt x="756" y="14"/>
                    <a:pt x="749" y="16"/>
                  </a:cubicBezTo>
                  <a:cubicBezTo>
                    <a:pt x="744" y="17"/>
                    <a:pt x="739" y="19"/>
                    <a:pt x="735" y="22"/>
                  </a:cubicBezTo>
                  <a:cubicBezTo>
                    <a:pt x="727" y="27"/>
                    <a:pt x="720" y="33"/>
                    <a:pt x="715" y="40"/>
                  </a:cubicBezTo>
                  <a:cubicBezTo>
                    <a:pt x="703" y="38"/>
                    <a:pt x="703" y="38"/>
                    <a:pt x="698" y="40"/>
                  </a:cubicBezTo>
                  <a:cubicBezTo>
                    <a:pt x="694" y="41"/>
                    <a:pt x="692" y="43"/>
                    <a:pt x="689" y="47"/>
                  </a:cubicBezTo>
                  <a:cubicBezTo>
                    <a:pt x="687" y="44"/>
                    <a:pt x="682" y="39"/>
                    <a:pt x="679" y="37"/>
                  </a:cubicBezTo>
                  <a:cubicBezTo>
                    <a:pt x="675" y="36"/>
                    <a:pt x="671" y="34"/>
                    <a:pt x="664" y="35"/>
                  </a:cubicBezTo>
                  <a:cubicBezTo>
                    <a:pt x="663" y="30"/>
                    <a:pt x="661" y="23"/>
                    <a:pt x="659" y="18"/>
                  </a:cubicBezTo>
                  <a:cubicBezTo>
                    <a:pt x="653" y="8"/>
                    <a:pt x="648" y="1"/>
                    <a:pt x="635" y="1"/>
                  </a:cubicBezTo>
                  <a:cubicBezTo>
                    <a:pt x="623" y="0"/>
                    <a:pt x="613" y="15"/>
                    <a:pt x="607" y="25"/>
                  </a:cubicBezTo>
                  <a:cubicBezTo>
                    <a:pt x="606" y="26"/>
                    <a:pt x="605" y="30"/>
                    <a:pt x="603" y="33"/>
                  </a:cubicBezTo>
                  <a:cubicBezTo>
                    <a:pt x="594" y="34"/>
                    <a:pt x="586" y="38"/>
                    <a:pt x="581" y="48"/>
                  </a:cubicBezTo>
                  <a:cubicBezTo>
                    <a:pt x="575" y="38"/>
                    <a:pt x="563" y="38"/>
                    <a:pt x="558" y="38"/>
                  </a:cubicBezTo>
                  <a:cubicBezTo>
                    <a:pt x="548" y="24"/>
                    <a:pt x="536" y="15"/>
                    <a:pt x="519" y="19"/>
                  </a:cubicBezTo>
                  <a:cubicBezTo>
                    <a:pt x="509" y="22"/>
                    <a:pt x="531" y="49"/>
                    <a:pt x="537" y="69"/>
                  </a:cubicBezTo>
                  <a:cubicBezTo>
                    <a:pt x="540" y="81"/>
                    <a:pt x="542" y="98"/>
                    <a:pt x="543" y="107"/>
                  </a:cubicBezTo>
                  <a:cubicBezTo>
                    <a:pt x="543" y="115"/>
                    <a:pt x="545" y="125"/>
                    <a:pt x="545" y="134"/>
                  </a:cubicBezTo>
                  <a:cubicBezTo>
                    <a:pt x="542" y="136"/>
                    <a:pt x="539" y="137"/>
                    <a:pt x="536" y="138"/>
                  </a:cubicBezTo>
                  <a:cubicBezTo>
                    <a:pt x="532" y="141"/>
                    <a:pt x="525" y="145"/>
                    <a:pt x="520" y="154"/>
                  </a:cubicBezTo>
                  <a:cubicBezTo>
                    <a:pt x="515" y="162"/>
                    <a:pt x="512" y="166"/>
                    <a:pt x="503" y="168"/>
                  </a:cubicBezTo>
                  <a:cubicBezTo>
                    <a:pt x="491" y="171"/>
                    <a:pt x="480" y="181"/>
                    <a:pt x="468" y="188"/>
                  </a:cubicBezTo>
                  <a:cubicBezTo>
                    <a:pt x="462" y="193"/>
                    <a:pt x="456" y="192"/>
                    <a:pt x="456" y="202"/>
                  </a:cubicBezTo>
                  <a:cubicBezTo>
                    <a:pt x="456" y="208"/>
                    <a:pt x="461" y="213"/>
                    <a:pt x="464" y="215"/>
                  </a:cubicBezTo>
                  <a:cubicBezTo>
                    <a:pt x="465" y="215"/>
                    <a:pt x="465" y="225"/>
                    <a:pt x="465" y="226"/>
                  </a:cubicBezTo>
                  <a:cubicBezTo>
                    <a:pt x="465" y="243"/>
                    <a:pt x="484" y="254"/>
                    <a:pt x="501" y="251"/>
                  </a:cubicBezTo>
                  <a:cubicBezTo>
                    <a:pt x="502" y="251"/>
                    <a:pt x="503" y="251"/>
                    <a:pt x="504" y="250"/>
                  </a:cubicBezTo>
                  <a:cubicBezTo>
                    <a:pt x="504" y="253"/>
                    <a:pt x="504" y="255"/>
                    <a:pt x="506" y="259"/>
                  </a:cubicBezTo>
                  <a:cubicBezTo>
                    <a:pt x="508" y="262"/>
                    <a:pt x="514" y="270"/>
                    <a:pt x="521" y="274"/>
                  </a:cubicBezTo>
                  <a:cubicBezTo>
                    <a:pt x="509" y="275"/>
                    <a:pt x="497" y="276"/>
                    <a:pt x="488" y="276"/>
                  </a:cubicBezTo>
                  <a:cubicBezTo>
                    <a:pt x="459" y="274"/>
                    <a:pt x="448" y="272"/>
                    <a:pt x="432" y="259"/>
                  </a:cubicBezTo>
                  <a:cubicBezTo>
                    <a:pt x="424" y="252"/>
                    <a:pt x="421" y="240"/>
                    <a:pt x="422" y="233"/>
                  </a:cubicBezTo>
                  <a:cubicBezTo>
                    <a:pt x="424" y="226"/>
                    <a:pt x="428" y="220"/>
                    <a:pt x="427" y="216"/>
                  </a:cubicBezTo>
                  <a:cubicBezTo>
                    <a:pt x="414" y="221"/>
                    <a:pt x="397" y="236"/>
                    <a:pt x="396" y="251"/>
                  </a:cubicBezTo>
                  <a:cubicBezTo>
                    <a:pt x="392" y="291"/>
                    <a:pt x="412" y="301"/>
                    <a:pt x="431" y="307"/>
                  </a:cubicBezTo>
                  <a:cubicBezTo>
                    <a:pt x="448" y="312"/>
                    <a:pt x="461" y="312"/>
                    <a:pt x="475" y="312"/>
                  </a:cubicBezTo>
                  <a:cubicBezTo>
                    <a:pt x="483" y="312"/>
                    <a:pt x="493" y="312"/>
                    <a:pt x="505" y="309"/>
                  </a:cubicBezTo>
                  <a:cubicBezTo>
                    <a:pt x="511" y="307"/>
                    <a:pt x="514" y="308"/>
                    <a:pt x="519" y="309"/>
                  </a:cubicBezTo>
                  <a:cubicBezTo>
                    <a:pt x="505" y="326"/>
                    <a:pt x="500" y="346"/>
                    <a:pt x="486" y="362"/>
                  </a:cubicBezTo>
                  <a:cubicBezTo>
                    <a:pt x="486" y="365"/>
                    <a:pt x="499" y="365"/>
                    <a:pt x="501" y="365"/>
                  </a:cubicBezTo>
                  <a:cubicBezTo>
                    <a:pt x="505" y="365"/>
                    <a:pt x="509" y="363"/>
                    <a:pt x="513" y="361"/>
                  </a:cubicBezTo>
                  <a:cubicBezTo>
                    <a:pt x="520" y="359"/>
                    <a:pt x="526" y="359"/>
                    <a:pt x="531" y="359"/>
                  </a:cubicBezTo>
                  <a:cubicBezTo>
                    <a:pt x="535" y="359"/>
                    <a:pt x="534" y="362"/>
                    <a:pt x="535" y="362"/>
                  </a:cubicBezTo>
                  <a:cubicBezTo>
                    <a:pt x="536" y="364"/>
                    <a:pt x="539" y="363"/>
                    <a:pt x="539" y="366"/>
                  </a:cubicBezTo>
                  <a:cubicBezTo>
                    <a:pt x="538" y="367"/>
                    <a:pt x="538" y="369"/>
                    <a:pt x="538" y="370"/>
                  </a:cubicBezTo>
                  <a:cubicBezTo>
                    <a:pt x="532" y="376"/>
                    <a:pt x="525" y="382"/>
                    <a:pt x="520" y="388"/>
                  </a:cubicBezTo>
                  <a:cubicBezTo>
                    <a:pt x="511" y="398"/>
                    <a:pt x="491" y="416"/>
                    <a:pt x="478" y="402"/>
                  </a:cubicBezTo>
                  <a:cubicBezTo>
                    <a:pt x="468" y="393"/>
                    <a:pt x="491" y="375"/>
                    <a:pt x="475" y="379"/>
                  </a:cubicBezTo>
                  <a:cubicBezTo>
                    <a:pt x="462" y="381"/>
                    <a:pt x="453" y="387"/>
                    <a:pt x="445" y="395"/>
                  </a:cubicBezTo>
                  <a:cubicBezTo>
                    <a:pt x="434" y="382"/>
                    <a:pt x="424" y="365"/>
                    <a:pt x="412" y="353"/>
                  </a:cubicBezTo>
                  <a:cubicBezTo>
                    <a:pt x="400" y="341"/>
                    <a:pt x="377" y="321"/>
                    <a:pt x="366" y="310"/>
                  </a:cubicBezTo>
                  <a:cubicBezTo>
                    <a:pt x="353" y="296"/>
                    <a:pt x="328" y="275"/>
                    <a:pt x="315" y="260"/>
                  </a:cubicBezTo>
                  <a:cubicBezTo>
                    <a:pt x="304" y="248"/>
                    <a:pt x="285" y="219"/>
                    <a:pt x="281" y="211"/>
                  </a:cubicBezTo>
                  <a:cubicBezTo>
                    <a:pt x="278" y="202"/>
                    <a:pt x="275" y="194"/>
                    <a:pt x="282" y="184"/>
                  </a:cubicBezTo>
                  <a:cubicBezTo>
                    <a:pt x="286" y="179"/>
                    <a:pt x="288" y="174"/>
                    <a:pt x="289" y="170"/>
                  </a:cubicBezTo>
                  <a:cubicBezTo>
                    <a:pt x="291" y="165"/>
                    <a:pt x="292" y="160"/>
                    <a:pt x="292" y="153"/>
                  </a:cubicBezTo>
                  <a:cubicBezTo>
                    <a:pt x="293" y="147"/>
                    <a:pt x="291" y="141"/>
                    <a:pt x="289" y="137"/>
                  </a:cubicBezTo>
                  <a:cubicBezTo>
                    <a:pt x="287" y="133"/>
                    <a:pt x="284" y="130"/>
                    <a:pt x="281" y="127"/>
                  </a:cubicBezTo>
                  <a:cubicBezTo>
                    <a:pt x="289" y="110"/>
                    <a:pt x="291" y="84"/>
                    <a:pt x="279" y="77"/>
                  </a:cubicBezTo>
                  <a:cubicBezTo>
                    <a:pt x="274" y="73"/>
                    <a:pt x="274" y="73"/>
                    <a:pt x="274" y="73"/>
                  </a:cubicBezTo>
                  <a:cubicBezTo>
                    <a:pt x="272" y="79"/>
                    <a:pt x="272" y="79"/>
                    <a:pt x="272" y="79"/>
                  </a:cubicBezTo>
                  <a:cubicBezTo>
                    <a:pt x="272" y="81"/>
                    <a:pt x="271" y="83"/>
                    <a:pt x="269" y="86"/>
                  </a:cubicBezTo>
                  <a:cubicBezTo>
                    <a:pt x="268" y="87"/>
                    <a:pt x="267" y="89"/>
                    <a:pt x="266" y="91"/>
                  </a:cubicBezTo>
                  <a:cubicBezTo>
                    <a:pt x="264" y="94"/>
                    <a:pt x="260" y="97"/>
                    <a:pt x="256" y="100"/>
                  </a:cubicBezTo>
                  <a:cubicBezTo>
                    <a:pt x="255" y="101"/>
                    <a:pt x="254" y="103"/>
                    <a:pt x="253" y="104"/>
                  </a:cubicBezTo>
                  <a:cubicBezTo>
                    <a:pt x="246" y="99"/>
                    <a:pt x="233" y="95"/>
                    <a:pt x="225" y="99"/>
                  </a:cubicBezTo>
                  <a:cubicBezTo>
                    <a:pt x="221" y="101"/>
                    <a:pt x="218" y="105"/>
                    <a:pt x="215" y="109"/>
                  </a:cubicBezTo>
                  <a:cubicBezTo>
                    <a:pt x="209" y="87"/>
                    <a:pt x="194" y="74"/>
                    <a:pt x="170" y="74"/>
                  </a:cubicBezTo>
                  <a:cubicBezTo>
                    <a:pt x="169" y="72"/>
                    <a:pt x="167" y="70"/>
                    <a:pt x="165" y="68"/>
                  </a:cubicBezTo>
                  <a:cubicBezTo>
                    <a:pt x="159" y="61"/>
                    <a:pt x="145" y="54"/>
                    <a:pt x="133" y="53"/>
                  </a:cubicBezTo>
                  <a:cubicBezTo>
                    <a:pt x="132" y="53"/>
                    <a:pt x="132" y="53"/>
                    <a:pt x="132" y="53"/>
                  </a:cubicBezTo>
                  <a:cubicBezTo>
                    <a:pt x="129" y="52"/>
                    <a:pt x="124" y="52"/>
                    <a:pt x="120" y="54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8" y="61"/>
                    <a:pt x="118" y="61"/>
                    <a:pt x="118" y="61"/>
                  </a:cubicBezTo>
                  <a:cubicBezTo>
                    <a:pt x="120" y="64"/>
                    <a:pt x="128" y="75"/>
                    <a:pt x="132" y="88"/>
                  </a:cubicBezTo>
                  <a:cubicBezTo>
                    <a:pt x="122" y="92"/>
                    <a:pt x="111" y="105"/>
                    <a:pt x="110" y="116"/>
                  </a:cubicBezTo>
                  <a:cubicBezTo>
                    <a:pt x="110" y="126"/>
                    <a:pt x="110" y="137"/>
                    <a:pt x="110" y="147"/>
                  </a:cubicBezTo>
                  <a:cubicBezTo>
                    <a:pt x="100" y="150"/>
                    <a:pt x="92" y="156"/>
                    <a:pt x="87" y="164"/>
                  </a:cubicBezTo>
                  <a:cubicBezTo>
                    <a:pt x="79" y="164"/>
                    <a:pt x="73" y="166"/>
                    <a:pt x="68" y="169"/>
                  </a:cubicBezTo>
                  <a:cubicBezTo>
                    <a:pt x="65" y="171"/>
                    <a:pt x="56" y="177"/>
                    <a:pt x="52" y="182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5" y="189"/>
                    <a:pt x="55" y="189"/>
                    <a:pt x="55" y="189"/>
                  </a:cubicBezTo>
                  <a:cubicBezTo>
                    <a:pt x="71" y="200"/>
                    <a:pt x="74" y="202"/>
                    <a:pt x="75" y="202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74" y="222"/>
                    <a:pt x="79" y="231"/>
                    <a:pt x="89" y="243"/>
                  </a:cubicBezTo>
                  <a:cubicBezTo>
                    <a:pt x="97" y="252"/>
                    <a:pt x="121" y="256"/>
                    <a:pt x="135" y="252"/>
                  </a:cubicBezTo>
                  <a:cubicBezTo>
                    <a:pt x="137" y="251"/>
                    <a:pt x="140" y="249"/>
                    <a:pt x="143" y="247"/>
                  </a:cubicBezTo>
                  <a:cubicBezTo>
                    <a:pt x="144" y="251"/>
                    <a:pt x="147" y="254"/>
                    <a:pt x="150" y="258"/>
                  </a:cubicBezTo>
                  <a:cubicBezTo>
                    <a:pt x="153" y="262"/>
                    <a:pt x="159" y="264"/>
                    <a:pt x="166" y="269"/>
                  </a:cubicBezTo>
                  <a:cubicBezTo>
                    <a:pt x="145" y="279"/>
                    <a:pt x="144" y="295"/>
                    <a:pt x="146" y="315"/>
                  </a:cubicBezTo>
                  <a:cubicBezTo>
                    <a:pt x="144" y="318"/>
                    <a:pt x="139" y="322"/>
                    <a:pt x="135" y="324"/>
                  </a:cubicBezTo>
                  <a:cubicBezTo>
                    <a:pt x="130" y="327"/>
                    <a:pt x="125" y="328"/>
                    <a:pt x="124" y="329"/>
                  </a:cubicBezTo>
                  <a:cubicBezTo>
                    <a:pt x="115" y="330"/>
                    <a:pt x="115" y="330"/>
                    <a:pt x="115" y="330"/>
                  </a:cubicBezTo>
                  <a:cubicBezTo>
                    <a:pt x="122" y="336"/>
                    <a:pt x="122" y="336"/>
                    <a:pt x="122" y="336"/>
                  </a:cubicBezTo>
                  <a:cubicBezTo>
                    <a:pt x="124" y="338"/>
                    <a:pt x="138" y="347"/>
                    <a:pt x="153" y="349"/>
                  </a:cubicBezTo>
                  <a:cubicBezTo>
                    <a:pt x="155" y="349"/>
                    <a:pt x="158" y="349"/>
                    <a:pt x="161" y="349"/>
                  </a:cubicBezTo>
                  <a:cubicBezTo>
                    <a:pt x="163" y="349"/>
                    <a:pt x="164" y="349"/>
                    <a:pt x="166" y="349"/>
                  </a:cubicBezTo>
                  <a:cubicBezTo>
                    <a:pt x="170" y="352"/>
                    <a:pt x="174" y="356"/>
                    <a:pt x="180" y="357"/>
                  </a:cubicBezTo>
                  <a:cubicBezTo>
                    <a:pt x="189" y="357"/>
                    <a:pt x="197" y="355"/>
                    <a:pt x="202" y="352"/>
                  </a:cubicBezTo>
                  <a:cubicBezTo>
                    <a:pt x="206" y="348"/>
                    <a:pt x="210" y="341"/>
                    <a:pt x="215" y="336"/>
                  </a:cubicBezTo>
                  <a:cubicBezTo>
                    <a:pt x="222" y="345"/>
                    <a:pt x="233" y="354"/>
                    <a:pt x="234" y="362"/>
                  </a:cubicBezTo>
                  <a:cubicBezTo>
                    <a:pt x="234" y="368"/>
                    <a:pt x="236" y="378"/>
                    <a:pt x="228" y="381"/>
                  </a:cubicBezTo>
                  <a:cubicBezTo>
                    <a:pt x="218" y="384"/>
                    <a:pt x="214" y="374"/>
                    <a:pt x="209" y="372"/>
                  </a:cubicBezTo>
                  <a:cubicBezTo>
                    <a:pt x="205" y="382"/>
                    <a:pt x="207" y="388"/>
                    <a:pt x="210" y="396"/>
                  </a:cubicBezTo>
                  <a:cubicBezTo>
                    <a:pt x="213" y="403"/>
                    <a:pt x="232" y="415"/>
                    <a:pt x="238" y="415"/>
                  </a:cubicBezTo>
                  <a:cubicBezTo>
                    <a:pt x="228" y="423"/>
                    <a:pt x="224" y="436"/>
                    <a:pt x="222" y="451"/>
                  </a:cubicBezTo>
                  <a:cubicBezTo>
                    <a:pt x="219" y="465"/>
                    <a:pt x="217" y="476"/>
                    <a:pt x="228" y="468"/>
                  </a:cubicBezTo>
                  <a:cubicBezTo>
                    <a:pt x="248" y="454"/>
                    <a:pt x="244" y="453"/>
                    <a:pt x="257" y="469"/>
                  </a:cubicBezTo>
                  <a:cubicBezTo>
                    <a:pt x="263" y="476"/>
                    <a:pt x="271" y="484"/>
                    <a:pt x="278" y="490"/>
                  </a:cubicBezTo>
                  <a:cubicBezTo>
                    <a:pt x="284" y="494"/>
                    <a:pt x="297" y="496"/>
                    <a:pt x="301" y="497"/>
                  </a:cubicBezTo>
                  <a:cubicBezTo>
                    <a:pt x="299" y="502"/>
                    <a:pt x="296" y="513"/>
                    <a:pt x="295" y="522"/>
                  </a:cubicBezTo>
                  <a:cubicBezTo>
                    <a:pt x="294" y="527"/>
                    <a:pt x="292" y="565"/>
                    <a:pt x="300" y="550"/>
                  </a:cubicBezTo>
                  <a:cubicBezTo>
                    <a:pt x="303" y="545"/>
                    <a:pt x="310" y="539"/>
                    <a:pt x="316" y="538"/>
                  </a:cubicBezTo>
                  <a:cubicBezTo>
                    <a:pt x="327" y="534"/>
                    <a:pt x="339" y="529"/>
                    <a:pt x="341" y="532"/>
                  </a:cubicBezTo>
                  <a:cubicBezTo>
                    <a:pt x="335" y="544"/>
                    <a:pt x="330" y="550"/>
                    <a:pt x="330" y="566"/>
                  </a:cubicBezTo>
                  <a:cubicBezTo>
                    <a:pt x="330" y="570"/>
                    <a:pt x="331" y="578"/>
                    <a:pt x="332" y="581"/>
                  </a:cubicBezTo>
                  <a:cubicBezTo>
                    <a:pt x="333" y="586"/>
                    <a:pt x="334" y="589"/>
                    <a:pt x="334" y="590"/>
                  </a:cubicBezTo>
                  <a:cubicBezTo>
                    <a:pt x="334" y="591"/>
                    <a:pt x="336" y="595"/>
                    <a:pt x="336" y="596"/>
                  </a:cubicBezTo>
                  <a:cubicBezTo>
                    <a:pt x="316" y="605"/>
                    <a:pt x="268" y="637"/>
                    <a:pt x="251" y="647"/>
                  </a:cubicBezTo>
                  <a:cubicBezTo>
                    <a:pt x="228" y="660"/>
                    <a:pt x="193" y="684"/>
                    <a:pt x="161" y="673"/>
                  </a:cubicBezTo>
                  <a:cubicBezTo>
                    <a:pt x="146" y="669"/>
                    <a:pt x="147" y="650"/>
                    <a:pt x="121" y="647"/>
                  </a:cubicBezTo>
                  <a:cubicBezTo>
                    <a:pt x="120" y="644"/>
                    <a:pt x="119" y="641"/>
                    <a:pt x="116" y="638"/>
                  </a:cubicBezTo>
                  <a:cubicBezTo>
                    <a:pt x="103" y="624"/>
                    <a:pt x="72" y="627"/>
                    <a:pt x="67" y="629"/>
                  </a:cubicBezTo>
                  <a:cubicBezTo>
                    <a:pt x="61" y="630"/>
                    <a:pt x="61" y="630"/>
                    <a:pt x="61" y="630"/>
                  </a:cubicBezTo>
                  <a:cubicBezTo>
                    <a:pt x="65" y="636"/>
                    <a:pt x="65" y="636"/>
                    <a:pt x="65" y="636"/>
                  </a:cubicBezTo>
                  <a:cubicBezTo>
                    <a:pt x="66" y="637"/>
                    <a:pt x="66" y="637"/>
                    <a:pt x="67" y="638"/>
                  </a:cubicBezTo>
                  <a:cubicBezTo>
                    <a:pt x="68" y="639"/>
                    <a:pt x="69" y="640"/>
                    <a:pt x="74" y="648"/>
                  </a:cubicBezTo>
                  <a:cubicBezTo>
                    <a:pt x="75" y="650"/>
                    <a:pt x="76" y="652"/>
                    <a:pt x="77" y="655"/>
                  </a:cubicBezTo>
                  <a:cubicBezTo>
                    <a:pt x="77" y="655"/>
                    <a:pt x="77" y="656"/>
                    <a:pt x="78" y="656"/>
                  </a:cubicBezTo>
                  <a:cubicBezTo>
                    <a:pt x="56" y="663"/>
                    <a:pt x="45" y="690"/>
                    <a:pt x="60" y="703"/>
                  </a:cubicBezTo>
                  <a:cubicBezTo>
                    <a:pt x="51" y="705"/>
                    <a:pt x="44" y="711"/>
                    <a:pt x="38" y="719"/>
                  </a:cubicBezTo>
                  <a:cubicBezTo>
                    <a:pt x="35" y="723"/>
                    <a:pt x="34" y="728"/>
                    <a:pt x="34" y="731"/>
                  </a:cubicBezTo>
                  <a:cubicBezTo>
                    <a:pt x="34" y="731"/>
                    <a:pt x="34" y="732"/>
                    <a:pt x="35" y="732"/>
                  </a:cubicBezTo>
                  <a:cubicBezTo>
                    <a:pt x="32" y="733"/>
                    <a:pt x="30" y="733"/>
                    <a:pt x="28" y="735"/>
                  </a:cubicBezTo>
                  <a:cubicBezTo>
                    <a:pt x="19" y="740"/>
                    <a:pt x="6" y="755"/>
                    <a:pt x="3" y="765"/>
                  </a:cubicBezTo>
                  <a:cubicBezTo>
                    <a:pt x="2" y="768"/>
                    <a:pt x="0" y="776"/>
                    <a:pt x="0" y="781"/>
                  </a:cubicBezTo>
                  <a:cubicBezTo>
                    <a:pt x="0" y="789"/>
                    <a:pt x="0" y="789"/>
                    <a:pt x="0" y="789"/>
                  </a:cubicBezTo>
                  <a:cubicBezTo>
                    <a:pt x="7" y="784"/>
                    <a:pt x="7" y="784"/>
                    <a:pt x="7" y="784"/>
                  </a:cubicBezTo>
                  <a:cubicBezTo>
                    <a:pt x="13" y="781"/>
                    <a:pt x="27" y="777"/>
                    <a:pt x="40" y="777"/>
                  </a:cubicBezTo>
                  <a:cubicBezTo>
                    <a:pt x="40" y="787"/>
                    <a:pt x="45" y="792"/>
                    <a:pt x="53" y="797"/>
                  </a:cubicBezTo>
                  <a:cubicBezTo>
                    <a:pt x="57" y="800"/>
                    <a:pt x="66" y="802"/>
                    <a:pt x="69" y="803"/>
                  </a:cubicBezTo>
                  <a:cubicBezTo>
                    <a:pt x="73" y="804"/>
                    <a:pt x="76" y="805"/>
                    <a:pt x="78" y="807"/>
                  </a:cubicBezTo>
                  <a:cubicBezTo>
                    <a:pt x="79" y="815"/>
                    <a:pt x="83" y="823"/>
                    <a:pt x="89" y="830"/>
                  </a:cubicBezTo>
                  <a:cubicBezTo>
                    <a:pt x="87" y="848"/>
                    <a:pt x="98" y="868"/>
                    <a:pt x="101" y="872"/>
                  </a:cubicBezTo>
                  <a:cubicBezTo>
                    <a:pt x="107" y="877"/>
                    <a:pt x="107" y="877"/>
                    <a:pt x="107" y="877"/>
                  </a:cubicBezTo>
                  <a:cubicBezTo>
                    <a:pt x="109" y="870"/>
                    <a:pt x="109" y="870"/>
                    <a:pt x="109" y="870"/>
                  </a:cubicBezTo>
                  <a:cubicBezTo>
                    <a:pt x="109" y="867"/>
                    <a:pt x="110" y="866"/>
                    <a:pt x="117" y="855"/>
                  </a:cubicBezTo>
                  <a:cubicBezTo>
                    <a:pt x="118" y="854"/>
                    <a:pt x="120" y="852"/>
                    <a:pt x="122" y="850"/>
                  </a:cubicBezTo>
                  <a:cubicBezTo>
                    <a:pt x="123" y="849"/>
                    <a:pt x="123" y="849"/>
                    <a:pt x="124" y="848"/>
                  </a:cubicBezTo>
                  <a:cubicBezTo>
                    <a:pt x="125" y="849"/>
                    <a:pt x="132" y="852"/>
                    <a:pt x="134" y="852"/>
                  </a:cubicBezTo>
                  <a:cubicBezTo>
                    <a:pt x="136" y="852"/>
                    <a:pt x="143" y="852"/>
                    <a:pt x="147" y="851"/>
                  </a:cubicBezTo>
                  <a:cubicBezTo>
                    <a:pt x="157" y="850"/>
                    <a:pt x="165" y="847"/>
                    <a:pt x="172" y="841"/>
                  </a:cubicBezTo>
                  <a:cubicBezTo>
                    <a:pt x="187" y="825"/>
                    <a:pt x="190" y="820"/>
                    <a:pt x="190" y="796"/>
                  </a:cubicBezTo>
                  <a:cubicBezTo>
                    <a:pt x="196" y="796"/>
                    <a:pt x="202" y="796"/>
                    <a:pt x="208" y="795"/>
                  </a:cubicBezTo>
                  <a:cubicBezTo>
                    <a:pt x="215" y="794"/>
                    <a:pt x="219" y="792"/>
                    <a:pt x="224" y="789"/>
                  </a:cubicBezTo>
                  <a:cubicBezTo>
                    <a:pt x="224" y="790"/>
                    <a:pt x="224" y="791"/>
                    <a:pt x="224" y="792"/>
                  </a:cubicBezTo>
                  <a:cubicBezTo>
                    <a:pt x="228" y="798"/>
                    <a:pt x="233" y="802"/>
                    <a:pt x="235" y="804"/>
                  </a:cubicBezTo>
                  <a:cubicBezTo>
                    <a:pt x="238" y="807"/>
                    <a:pt x="247" y="811"/>
                    <a:pt x="252" y="812"/>
                  </a:cubicBezTo>
                  <a:cubicBezTo>
                    <a:pt x="253" y="816"/>
                    <a:pt x="253" y="820"/>
                    <a:pt x="253" y="825"/>
                  </a:cubicBezTo>
                  <a:cubicBezTo>
                    <a:pt x="253" y="830"/>
                    <a:pt x="253" y="830"/>
                    <a:pt x="253" y="830"/>
                  </a:cubicBezTo>
                  <a:cubicBezTo>
                    <a:pt x="253" y="830"/>
                    <a:pt x="253" y="830"/>
                    <a:pt x="253" y="830"/>
                  </a:cubicBezTo>
                  <a:cubicBezTo>
                    <a:pt x="253" y="830"/>
                    <a:pt x="253" y="831"/>
                    <a:pt x="253" y="832"/>
                  </a:cubicBezTo>
                  <a:cubicBezTo>
                    <a:pt x="252" y="838"/>
                    <a:pt x="252" y="838"/>
                    <a:pt x="252" y="838"/>
                  </a:cubicBezTo>
                  <a:cubicBezTo>
                    <a:pt x="258" y="837"/>
                    <a:pt x="258" y="837"/>
                    <a:pt x="258" y="837"/>
                  </a:cubicBezTo>
                  <a:cubicBezTo>
                    <a:pt x="259" y="836"/>
                    <a:pt x="260" y="836"/>
                    <a:pt x="261" y="836"/>
                  </a:cubicBezTo>
                  <a:cubicBezTo>
                    <a:pt x="267" y="835"/>
                    <a:pt x="276" y="833"/>
                    <a:pt x="283" y="821"/>
                  </a:cubicBezTo>
                  <a:cubicBezTo>
                    <a:pt x="285" y="819"/>
                    <a:pt x="286" y="816"/>
                    <a:pt x="288" y="811"/>
                  </a:cubicBezTo>
                  <a:cubicBezTo>
                    <a:pt x="294" y="807"/>
                    <a:pt x="301" y="806"/>
                    <a:pt x="306" y="797"/>
                  </a:cubicBezTo>
                  <a:cubicBezTo>
                    <a:pt x="310" y="789"/>
                    <a:pt x="310" y="779"/>
                    <a:pt x="309" y="770"/>
                  </a:cubicBezTo>
                  <a:cubicBezTo>
                    <a:pt x="309" y="763"/>
                    <a:pt x="313" y="765"/>
                    <a:pt x="319" y="764"/>
                  </a:cubicBezTo>
                  <a:cubicBezTo>
                    <a:pt x="336" y="760"/>
                    <a:pt x="342" y="757"/>
                    <a:pt x="347" y="760"/>
                  </a:cubicBezTo>
                  <a:cubicBezTo>
                    <a:pt x="356" y="765"/>
                    <a:pt x="353" y="784"/>
                    <a:pt x="344" y="789"/>
                  </a:cubicBezTo>
                  <a:cubicBezTo>
                    <a:pt x="345" y="790"/>
                    <a:pt x="356" y="785"/>
                    <a:pt x="359" y="783"/>
                  </a:cubicBezTo>
                  <a:cubicBezTo>
                    <a:pt x="371" y="776"/>
                    <a:pt x="373" y="764"/>
                    <a:pt x="377" y="764"/>
                  </a:cubicBezTo>
                  <a:cubicBezTo>
                    <a:pt x="379" y="764"/>
                    <a:pt x="379" y="764"/>
                    <a:pt x="381" y="765"/>
                  </a:cubicBezTo>
                  <a:cubicBezTo>
                    <a:pt x="383" y="766"/>
                    <a:pt x="383" y="769"/>
                    <a:pt x="383" y="772"/>
                  </a:cubicBezTo>
                  <a:cubicBezTo>
                    <a:pt x="382" y="774"/>
                    <a:pt x="382" y="778"/>
                    <a:pt x="383" y="782"/>
                  </a:cubicBezTo>
                  <a:cubicBezTo>
                    <a:pt x="385" y="797"/>
                    <a:pt x="401" y="822"/>
                    <a:pt x="408" y="821"/>
                  </a:cubicBezTo>
                  <a:cubicBezTo>
                    <a:pt x="409" y="811"/>
                    <a:pt x="409" y="813"/>
                    <a:pt x="409" y="806"/>
                  </a:cubicBezTo>
                  <a:cubicBezTo>
                    <a:pt x="409" y="801"/>
                    <a:pt x="409" y="798"/>
                    <a:pt x="409" y="793"/>
                  </a:cubicBezTo>
                  <a:cubicBezTo>
                    <a:pt x="410" y="788"/>
                    <a:pt x="410" y="781"/>
                    <a:pt x="413" y="778"/>
                  </a:cubicBezTo>
                  <a:cubicBezTo>
                    <a:pt x="417" y="773"/>
                    <a:pt x="427" y="768"/>
                    <a:pt x="431" y="765"/>
                  </a:cubicBezTo>
                  <a:cubicBezTo>
                    <a:pt x="435" y="762"/>
                    <a:pt x="445" y="754"/>
                    <a:pt x="445" y="753"/>
                  </a:cubicBezTo>
                  <a:cubicBezTo>
                    <a:pt x="448" y="761"/>
                    <a:pt x="452" y="769"/>
                    <a:pt x="459" y="775"/>
                  </a:cubicBezTo>
                  <a:cubicBezTo>
                    <a:pt x="462" y="778"/>
                    <a:pt x="481" y="794"/>
                    <a:pt x="484" y="785"/>
                  </a:cubicBezTo>
                  <a:cubicBezTo>
                    <a:pt x="475" y="767"/>
                    <a:pt x="475" y="748"/>
                    <a:pt x="481" y="743"/>
                  </a:cubicBezTo>
                  <a:cubicBezTo>
                    <a:pt x="486" y="739"/>
                    <a:pt x="491" y="736"/>
                    <a:pt x="496" y="732"/>
                  </a:cubicBezTo>
                  <a:cubicBezTo>
                    <a:pt x="507" y="746"/>
                    <a:pt x="556" y="782"/>
                    <a:pt x="571" y="791"/>
                  </a:cubicBezTo>
                  <a:cubicBezTo>
                    <a:pt x="579" y="795"/>
                    <a:pt x="633" y="838"/>
                    <a:pt x="638" y="842"/>
                  </a:cubicBezTo>
                  <a:cubicBezTo>
                    <a:pt x="626" y="841"/>
                    <a:pt x="610" y="840"/>
                    <a:pt x="602" y="840"/>
                  </a:cubicBezTo>
                  <a:cubicBezTo>
                    <a:pt x="596" y="840"/>
                    <a:pt x="606" y="847"/>
                    <a:pt x="615" y="856"/>
                  </a:cubicBezTo>
                  <a:cubicBezTo>
                    <a:pt x="624" y="864"/>
                    <a:pt x="634" y="874"/>
                    <a:pt x="636" y="877"/>
                  </a:cubicBezTo>
                  <a:cubicBezTo>
                    <a:pt x="642" y="884"/>
                    <a:pt x="654" y="895"/>
                    <a:pt x="657" y="905"/>
                  </a:cubicBezTo>
                  <a:cubicBezTo>
                    <a:pt x="657" y="905"/>
                    <a:pt x="657" y="906"/>
                    <a:pt x="657" y="906"/>
                  </a:cubicBezTo>
                  <a:cubicBezTo>
                    <a:pt x="654" y="906"/>
                    <a:pt x="651" y="905"/>
                    <a:pt x="650" y="905"/>
                  </a:cubicBezTo>
                  <a:cubicBezTo>
                    <a:pt x="645" y="904"/>
                    <a:pt x="634" y="903"/>
                    <a:pt x="629" y="902"/>
                  </a:cubicBezTo>
                  <a:cubicBezTo>
                    <a:pt x="617" y="901"/>
                    <a:pt x="602" y="900"/>
                    <a:pt x="590" y="900"/>
                  </a:cubicBezTo>
                  <a:cubicBezTo>
                    <a:pt x="565" y="899"/>
                    <a:pt x="540" y="902"/>
                    <a:pt x="517" y="905"/>
                  </a:cubicBezTo>
                  <a:cubicBezTo>
                    <a:pt x="497" y="906"/>
                    <a:pt x="469" y="916"/>
                    <a:pt x="450" y="908"/>
                  </a:cubicBezTo>
                  <a:cubicBezTo>
                    <a:pt x="441" y="904"/>
                    <a:pt x="429" y="898"/>
                    <a:pt x="429" y="886"/>
                  </a:cubicBezTo>
                  <a:cubicBezTo>
                    <a:pt x="429" y="878"/>
                    <a:pt x="437" y="875"/>
                    <a:pt x="443" y="871"/>
                  </a:cubicBezTo>
                  <a:cubicBezTo>
                    <a:pt x="436" y="867"/>
                    <a:pt x="423" y="867"/>
                    <a:pt x="414" y="869"/>
                  </a:cubicBezTo>
                  <a:cubicBezTo>
                    <a:pt x="408" y="870"/>
                    <a:pt x="402" y="872"/>
                    <a:pt x="395" y="876"/>
                  </a:cubicBezTo>
                  <a:cubicBezTo>
                    <a:pt x="387" y="880"/>
                    <a:pt x="374" y="896"/>
                    <a:pt x="374" y="904"/>
                  </a:cubicBezTo>
                  <a:cubicBezTo>
                    <a:pt x="374" y="910"/>
                    <a:pt x="375" y="918"/>
                    <a:pt x="374" y="919"/>
                  </a:cubicBezTo>
                  <a:cubicBezTo>
                    <a:pt x="373" y="920"/>
                    <a:pt x="371" y="919"/>
                    <a:pt x="368" y="918"/>
                  </a:cubicBezTo>
                  <a:cubicBezTo>
                    <a:pt x="360" y="917"/>
                    <a:pt x="348" y="918"/>
                    <a:pt x="338" y="918"/>
                  </a:cubicBezTo>
                  <a:cubicBezTo>
                    <a:pt x="322" y="919"/>
                    <a:pt x="305" y="929"/>
                    <a:pt x="292" y="937"/>
                  </a:cubicBezTo>
                  <a:cubicBezTo>
                    <a:pt x="286" y="940"/>
                    <a:pt x="247" y="973"/>
                    <a:pt x="244" y="985"/>
                  </a:cubicBezTo>
                  <a:cubicBezTo>
                    <a:pt x="244" y="986"/>
                    <a:pt x="245" y="990"/>
                    <a:pt x="247" y="989"/>
                  </a:cubicBezTo>
                  <a:cubicBezTo>
                    <a:pt x="272" y="977"/>
                    <a:pt x="309" y="975"/>
                    <a:pt x="338" y="981"/>
                  </a:cubicBezTo>
                  <a:cubicBezTo>
                    <a:pt x="357" y="985"/>
                    <a:pt x="377" y="985"/>
                    <a:pt x="394" y="988"/>
                  </a:cubicBezTo>
                  <a:cubicBezTo>
                    <a:pt x="398" y="994"/>
                    <a:pt x="389" y="1002"/>
                    <a:pt x="385" y="1010"/>
                  </a:cubicBezTo>
                  <a:cubicBezTo>
                    <a:pt x="382" y="1017"/>
                    <a:pt x="376" y="1033"/>
                    <a:pt x="373" y="1041"/>
                  </a:cubicBezTo>
                  <a:cubicBezTo>
                    <a:pt x="369" y="1055"/>
                    <a:pt x="368" y="1069"/>
                    <a:pt x="362" y="1088"/>
                  </a:cubicBezTo>
                  <a:cubicBezTo>
                    <a:pt x="357" y="1102"/>
                    <a:pt x="342" y="1111"/>
                    <a:pt x="315" y="1115"/>
                  </a:cubicBezTo>
                  <a:cubicBezTo>
                    <a:pt x="304" y="1116"/>
                    <a:pt x="296" y="1116"/>
                    <a:pt x="287" y="1116"/>
                  </a:cubicBezTo>
                  <a:cubicBezTo>
                    <a:pt x="273" y="1115"/>
                    <a:pt x="264" y="1116"/>
                    <a:pt x="263" y="1102"/>
                  </a:cubicBezTo>
                  <a:cubicBezTo>
                    <a:pt x="262" y="1092"/>
                    <a:pt x="260" y="1078"/>
                    <a:pt x="254" y="1069"/>
                  </a:cubicBezTo>
                  <a:cubicBezTo>
                    <a:pt x="248" y="1059"/>
                    <a:pt x="240" y="1052"/>
                    <a:pt x="230" y="1052"/>
                  </a:cubicBezTo>
                  <a:cubicBezTo>
                    <a:pt x="221" y="1035"/>
                    <a:pt x="195" y="1023"/>
                    <a:pt x="189" y="1022"/>
                  </a:cubicBezTo>
                  <a:cubicBezTo>
                    <a:pt x="183" y="1021"/>
                    <a:pt x="183" y="1021"/>
                    <a:pt x="183" y="1021"/>
                  </a:cubicBezTo>
                  <a:cubicBezTo>
                    <a:pt x="184" y="1028"/>
                    <a:pt x="184" y="1028"/>
                    <a:pt x="184" y="1028"/>
                  </a:cubicBezTo>
                  <a:cubicBezTo>
                    <a:pt x="185" y="1031"/>
                    <a:pt x="185" y="1033"/>
                    <a:pt x="186" y="1035"/>
                  </a:cubicBezTo>
                  <a:cubicBezTo>
                    <a:pt x="186" y="1038"/>
                    <a:pt x="186" y="1038"/>
                    <a:pt x="186" y="1039"/>
                  </a:cubicBezTo>
                  <a:cubicBezTo>
                    <a:pt x="186" y="1040"/>
                    <a:pt x="186" y="1041"/>
                    <a:pt x="186" y="1043"/>
                  </a:cubicBezTo>
                  <a:cubicBezTo>
                    <a:pt x="186" y="1044"/>
                    <a:pt x="186" y="1044"/>
                    <a:pt x="186" y="1044"/>
                  </a:cubicBezTo>
                  <a:cubicBezTo>
                    <a:pt x="187" y="1049"/>
                    <a:pt x="187" y="1052"/>
                    <a:pt x="186" y="1060"/>
                  </a:cubicBezTo>
                  <a:cubicBezTo>
                    <a:pt x="184" y="1062"/>
                    <a:pt x="181" y="1064"/>
                    <a:pt x="179" y="1065"/>
                  </a:cubicBezTo>
                  <a:cubicBezTo>
                    <a:pt x="176" y="1068"/>
                    <a:pt x="173" y="1074"/>
                    <a:pt x="171" y="1077"/>
                  </a:cubicBezTo>
                  <a:cubicBezTo>
                    <a:pt x="170" y="1079"/>
                    <a:pt x="169" y="1081"/>
                    <a:pt x="168" y="1086"/>
                  </a:cubicBezTo>
                  <a:cubicBezTo>
                    <a:pt x="162" y="1084"/>
                    <a:pt x="158" y="1082"/>
                    <a:pt x="154" y="1082"/>
                  </a:cubicBezTo>
                  <a:cubicBezTo>
                    <a:pt x="139" y="1083"/>
                    <a:pt x="134" y="1088"/>
                    <a:pt x="126" y="1098"/>
                  </a:cubicBezTo>
                  <a:cubicBezTo>
                    <a:pt x="126" y="1098"/>
                    <a:pt x="126" y="1098"/>
                    <a:pt x="126" y="1098"/>
                  </a:cubicBezTo>
                  <a:cubicBezTo>
                    <a:pt x="117" y="1097"/>
                    <a:pt x="99" y="1103"/>
                    <a:pt x="91" y="1109"/>
                  </a:cubicBezTo>
                  <a:cubicBezTo>
                    <a:pt x="89" y="1111"/>
                    <a:pt x="86" y="1114"/>
                    <a:pt x="84" y="1118"/>
                  </a:cubicBezTo>
                  <a:cubicBezTo>
                    <a:pt x="80" y="1124"/>
                    <a:pt x="80" y="1124"/>
                    <a:pt x="80" y="1124"/>
                  </a:cubicBezTo>
                  <a:cubicBezTo>
                    <a:pt x="87" y="1125"/>
                    <a:pt x="87" y="1125"/>
                    <a:pt x="87" y="1125"/>
                  </a:cubicBezTo>
                  <a:cubicBezTo>
                    <a:pt x="97" y="1125"/>
                    <a:pt x="103" y="1127"/>
                    <a:pt x="112" y="1133"/>
                  </a:cubicBezTo>
                  <a:cubicBezTo>
                    <a:pt x="111" y="1143"/>
                    <a:pt x="112" y="1156"/>
                    <a:pt x="118" y="1167"/>
                  </a:cubicBezTo>
                  <a:cubicBezTo>
                    <a:pt x="124" y="1179"/>
                    <a:pt x="133" y="1187"/>
                    <a:pt x="152" y="1185"/>
                  </a:cubicBezTo>
                  <a:cubicBezTo>
                    <a:pt x="150" y="1190"/>
                    <a:pt x="148" y="1194"/>
                    <a:pt x="147" y="1197"/>
                  </a:cubicBezTo>
                  <a:cubicBezTo>
                    <a:pt x="147" y="1206"/>
                    <a:pt x="148" y="1212"/>
                    <a:pt x="150" y="1218"/>
                  </a:cubicBezTo>
                  <a:cubicBezTo>
                    <a:pt x="145" y="1232"/>
                    <a:pt x="147" y="1248"/>
                    <a:pt x="147" y="1252"/>
                  </a:cubicBezTo>
                  <a:cubicBezTo>
                    <a:pt x="148" y="1259"/>
                    <a:pt x="148" y="1259"/>
                    <a:pt x="148" y="1259"/>
                  </a:cubicBezTo>
                  <a:cubicBezTo>
                    <a:pt x="154" y="1255"/>
                    <a:pt x="154" y="1255"/>
                    <a:pt x="154" y="1255"/>
                  </a:cubicBezTo>
                  <a:cubicBezTo>
                    <a:pt x="157" y="1253"/>
                    <a:pt x="158" y="1252"/>
                    <a:pt x="169" y="1247"/>
                  </a:cubicBezTo>
                  <a:cubicBezTo>
                    <a:pt x="170" y="1246"/>
                    <a:pt x="171" y="1246"/>
                    <a:pt x="171" y="1246"/>
                  </a:cubicBezTo>
                  <a:cubicBezTo>
                    <a:pt x="181" y="1260"/>
                    <a:pt x="205" y="1262"/>
                    <a:pt x="220" y="1252"/>
                  </a:cubicBezTo>
                  <a:cubicBezTo>
                    <a:pt x="227" y="1247"/>
                    <a:pt x="232" y="1235"/>
                    <a:pt x="239" y="1230"/>
                  </a:cubicBezTo>
                  <a:cubicBezTo>
                    <a:pt x="246" y="1226"/>
                    <a:pt x="254" y="1225"/>
                    <a:pt x="262" y="1227"/>
                  </a:cubicBezTo>
                  <a:cubicBezTo>
                    <a:pt x="261" y="1229"/>
                    <a:pt x="262" y="1231"/>
                    <a:pt x="262" y="1233"/>
                  </a:cubicBezTo>
                  <a:cubicBezTo>
                    <a:pt x="263" y="1237"/>
                    <a:pt x="265" y="1243"/>
                    <a:pt x="268" y="1246"/>
                  </a:cubicBezTo>
                  <a:cubicBezTo>
                    <a:pt x="271" y="1249"/>
                    <a:pt x="277" y="1254"/>
                    <a:pt x="281" y="1257"/>
                  </a:cubicBezTo>
                  <a:cubicBezTo>
                    <a:pt x="281" y="1259"/>
                    <a:pt x="280" y="1260"/>
                    <a:pt x="281" y="1262"/>
                  </a:cubicBezTo>
                  <a:cubicBezTo>
                    <a:pt x="282" y="1267"/>
                    <a:pt x="281" y="1273"/>
                    <a:pt x="280" y="1278"/>
                  </a:cubicBezTo>
                  <a:cubicBezTo>
                    <a:pt x="279" y="1279"/>
                    <a:pt x="279" y="1279"/>
                    <a:pt x="279" y="1279"/>
                  </a:cubicBezTo>
                  <a:cubicBezTo>
                    <a:pt x="279" y="1281"/>
                    <a:pt x="279" y="1283"/>
                    <a:pt x="278" y="1283"/>
                  </a:cubicBezTo>
                  <a:cubicBezTo>
                    <a:pt x="278" y="1284"/>
                    <a:pt x="278" y="1285"/>
                    <a:pt x="277" y="1286"/>
                  </a:cubicBezTo>
                  <a:cubicBezTo>
                    <a:pt x="274" y="1293"/>
                    <a:pt x="274" y="1293"/>
                    <a:pt x="274" y="1293"/>
                  </a:cubicBezTo>
                  <a:cubicBezTo>
                    <a:pt x="281" y="1292"/>
                    <a:pt x="281" y="1292"/>
                    <a:pt x="281" y="1292"/>
                  </a:cubicBezTo>
                  <a:cubicBezTo>
                    <a:pt x="289" y="1292"/>
                    <a:pt x="300" y="1289"/>
                    <a:pt x="310" y="1277"/>
                  </a:cubicBezTo>
                  <a:cubicBezTo>
                    <a:pt x="312" y="1275"/>
                    <a:pt x="315" y="1271"/>
                    <a:pt x="317" y="1267"/>
                  </a:cubicBezTo>
                  <a:cubicBezTo>
                    <a:pt x="334" y="1266"/>
                    <a:pt x="345" y="1246"/>
                    <a:pt x="346" y="1231"/>
                  </a:cubicBezTo>
                  <a:cubicBezTo>
                    <a:pt x="351" y="1231"/>
                    <a:pt x="354" y="1229"/>
                    <a:pt x="358" y="1227"/>
                  </a:cubicBezTo>
                  <a:cubicBezTo>
                    <a:pt x="370" y="1248"/>
                    <a:pt x="395" y="1271"/>
                    <a:pt x="421" y="1272"/>
                  </a:cubicBezTo>
                  <a:cubicBezTo>
                    <a:pt x="415" y="1264"/>
                    <a:pt x="401" y="1246"/>
                    <a:pt x="401" y="1236"/>
                  </a:cubicBezTo>
                  <a:cubicBezTo>
                    <a:pt x="407" y="1239"/>
                    <a:pt x="413" y="1244"/>
                    <a:pt x="421" y="1247"/>
                  </a:cubicBezTo>
                  <a:cubicBezTo>
                    <a:pt x="427" y="1250"/>
                    <a:pt x="433" y="1250"/>
                    <a:pt x="440" y="1249"/>
                  </a:cubicBezTo>
                  <a:cubicBezTo>
                    <a:pt x="444" y="1249"/>
                    <a:pt x="450" y="1246"/>
                    <a:pt x="453" y="1245"/>
                  </a:cubicBezTo>
                  <a:cubicBezTo>
                    <a:pt x="448" y="1240"/>
                    <a:pt x="445" y="1238"/>
                    <a:pt x="443" y="1236"/>
                  </a:cubicBezTo>
                  <a:cubicBezTo>
                    <a:pt x="439" y="1233"/>
                    <a:pt x="435" y="1229"/>
                    <a:pt x="431" y="1225"/>
                  </a:cubicBezTo>
                  <a:cubicBezTo>
                    <a:pt x="430" y="1224"/>
                    <a:pt x="426" y="1219"/>
                    <a:pt x="426" y="1218"/>
                  </a:cubicBezTo>
                  <a:cubicBezTo>
                    <a:pt x="437" y="1215"/>
                    <a:pt x="465" y="1216"/>
                    <a:pt x="480" y="1216"/>
                  </a:cubicBezTo>
                  <a:cubicBezTo>
                    <a:pt x="485" y="1215"/>
                    <a:pt x="490" y="1211"/>
                    <a:pt x="493" y="1211"/>
                  </a:cubicBezTo>
                  <a:cubicBezTo>
                    <a:pt x="499" y="1211"/>
                    <a:pt x="505" y="1211"/>
                    <a:pt x="511" y="1210"/>
                  </a:cubicBezTo>
                  <a:cubicBezTo>
                    <a:pt x="514" y="1210"/>
                    <a:pt x="517" y="1209"/>
                    <a:pt x="521" y="1208"/>
                  </a:cubicBezTo>
                  <a:cubicBezTo>
                    <a:pt x="523" y="1207"/>
                    <a:pt x="529" y="1206"/>
                    <a:pt x="532" y="1205"/>
                  </a:cubicBezTo>
                  <a:cubicBezTo>
                    <a:pt x="532" y="1200"/>
                    <a:pt x="524" y="1193"/>
                    <a:pt x="520" y="1189"/>
                  </a:cubicBezTo>
                  <a:cubicBezTo>
                    <a:pt x="512" y="1183"/>
                    <a:pt x="507" y="1172"/>
                    <a:pt x="506" y="1158"/>
                  </a:cubicBezTo>
                  <a:cubicBezTo>
                    <a:pt x="506" y="1151"/>
                    <a:pt x="506" y="1148"/>
                    <a:pt x="506" y="1142"/>
                  </a:cubicBezTo>
                  <a:cubicBezTo>
                    <a:pt x="506" y="1141"/>
                    <a:pt x="507" y="1136"/>
                    <a:pt x="507" y="1134"/>
                  </a:cubicBezTo>
                  <a:cubicBezTo>
                    <a:pt x="508" y="1131"/>
                    <a:pt x="509" y="1123"/>
                    <a:pt x="510" y="1120"/>
                  </a:cubicBezTo>
                  <a:cubicBezTo>
                    <a:pt x="512" y="1114"/>
                    <a:pt x="514" y="1104"/>
                    <a:pt x="515" y="1100"/>
                  </a:cubicBezTo>
                  <a:cubicBezTo>
                    <a:pt x="517" y="1092"/>
                    <a:pt x="517" y="1079"/>
                    <a:pt x="517" y="1074"/>
                  </a:cubicBezTo>
                  <a:cubicBezTo>
                    <a:pt x="558" y="1072"/>
                    <a:pt x="624" y="1065"/>
                    <a:pt x="661" y="1049"/>
                  </a:cubicBezTo>
                  <a:cubicBezTo>
                    <a:pt x="658" y="1066"/>
                    <a:pt x="654" y="1082"/>
                    <a:pt x="653" y="1090"/>
                  </a:cubicBezTo>
                  <a:cubicBezTo>
                    <a:pt x="649" y="1111"/>
                    <a:pt x="643" y="1136"/>
                    <a:pt x="631" y="1149"/>
                  </a:cubicBezTo>
                  <a:cubicBezTo>
                    <a:pt x="627" y="1155"/>
                    <a:pt x="609" y="1164"/>
                    <a:pt x="598" y="1164"/>
                  </a:cubicBezTo>
                  <a:cubicBezTo>
                    <a:pt x="589" y="1163"/>
                    <a:pt x="582" y="1145"/>
                    <a:pt x="574" y="1149"/>
                  </a:cubicBezTo>
                  <a:cubicBezTo>
                    <a:pt x="570" y="1176"/>
                    <a:pt x="578" y="1202"/>
                    <a:pt x="620" y="1203"/>
                  </a:cubicBezTo>
                  <a:cubicBezTo>
                    <a:pt x="625" y="1203"/>
                    <a:pt x="629" y="1201"/>
                    <a:pt x="631" y="1202"/>
                  </a:cubicBezTo>
                  <a:cubicBezTo>
                    <a:pt x="632" y="1204"/>
                    <a:pt x="627" y="1208"/>
                    <a:pt x="625" y="1213"/>
                  </a:cubicBezTo>
                  <a:cubicBezTo>
                    <a:pt x="617" y="1229"/>
                    <a:pt x="612" y="1279"/>
                    <a:pt x="624" y="1300"/>
                  </a:cubicBezTo>
                  <a:cubicBezTo>
                    <a:pt x="624" y="1301"/>
                    <a:pt x="651" y="1353"/>
                    <a:pt x="651" y="1326"/>
                  </a:cubicBezTo>
                  <a:cubicBezTo>
                    <a:pt x="651" y="1298"/>
                    <a:pt x="659" y="1271"/>
                    <a:pt x="678" y="1251"/>
                  </a:cubicBezTo>
                  <a:cubicBezTo>
                    <a:pt x="687" y="1243"/>
                    <a:pt x="694" y="1227"/>
                    <a:pt x="701" y="1210"/>
                  </a:cubicBezTo>
                  <a:cubicBezTo>
                    <a:pt x="704" y="1214"/>
                    <a:pt x="711" y="1223"/>
                    <a:pt x="712" y="1225"/>
                  </a:cubicBezTo>
                  <a:cubicBezTo>
                    <a:pt x="716" y="1229"/>
                    <a:pt x="724" y="1240"/>
                    <a:pt x="728" y="1244"/>
                  </a:cubicBezTo>
                  <a:cubicBezTo>
                    <a:pt x="743" y="1260"/>
                    <a:pt x="743" y="1266"/>
                    <a:pt x="731" y="1287"/>
                  </a:cubicBezTo>
                  <a:cubicBezTo>
                    <a:pt x="724" y="1298"/>
                    <a:pt x="713" y="1313"/>
                    <a:pt x="701" y="1330"/>
                  </a:cubicBezTo>
                  <a:cubicBezTo>
                    <a:pt x="689" y="1347"/>
                    <a:pt x="675" y="1360"/>
                    <a:pt x="660" y="1363"/>
                  </a:cubicBezTo>
                  <a:cubicBezTo>
                    <a:pt x="652" y="1364"/>
                    <a:pt x="640" y="1359"/>
                    <a:pt x="628" y="1361"/>
                  </a:cubicBezTo>
                  <a:cubicBezTo>
                    <a:pt x="617" y="1362"/>
                    <a:pt x="611" y="1367"/>
                    <a:pt x="606" y="1377"/>
                  </a:cubicBezTo>
                  <a:cubicBezTo>
                    <a:pt x="607" y="1378"/>
                    <a:pt x="607" y="1378"/>
                    <a:pt x="607" y="1378"/>
                  </a:cubicBezTo>
                  <a:cubicBezTo>
                    <a:pt x="600" y="1376"/>
                    <a:pt x="592" y="1377"/>
                    <a:pt x="584" y="1380"/>
                  </a:cubicBezTo>
                  <a:cubicBezTo>
                    <a:pt x="569" y="1385"/>
                    <a:pt x="557" y="1397"/>
                    <a:pt x="555" y="1408"/>
                  </a:cubicBezTo>
                  <a:cubicBezTo>
                    <a:pt x="553" y="1414"/>
                    <a:pt x="553" y="1414"/>
                    <a:pt x="553" y="1414"/>
                  </a:cubicBezTo>
                  <a:cubicBezTo>
                    <a:pt x="560" y="1413"/>
                    <a:pt x="560" y="1413"/>
                    <a:pt x="560" y="1413"/>
                  </a:cubicBezTo>
                  <a:cubicBezTo>
                    <a:pt x="569" y="1411"/>
                    <a:pt x="570" y="1411"/>
                    <a:pt x="572" y="1412"/>
                  </a:cubicBezTo>
                  <a:cubicBezTo>
                    <a:pt x="574" y="1412"/>
                    <a:pt x="575" y="1412"/>
                    <a:pt x="577" y="1412"/>
                  </a:cubicBezTo>
                  <a:cubicBezTo>
                    <a:pt x="579" y="1413"/>
                    <a:pt x="580" y="1413"/>
                    <a:pt x="583" y="1415"/>
                  </a:cubicBezTo>
                  <a:cubicBezTo>
                    <a:pt x="585" y="1416"/>
                    <a:pt x="588" y="1417"/>
                    <a:pt x="593" y="1419"/>
                  </a:cubicBezTo>
                  <a:cubicBezTo>
                    <a:pt x="593" y="1427"/>
                    <a:pt x="593" y="1431"/>
                    <a:pt x="597" y="1438"/>
                  </a:cubicBezTo>
                  <a:cubicBezTo>
                    <a:pt x="600" y="1444"/>
                    <a:pt x="605" y="1444"/>
                    <a:pt x="601" y="1450"/>
                  </a:cubicBezTo>
                  <a:cubicBezTo>
                    <a:pt x="596" y="1457"/>
                    <a:pt x="591" y="1463"/>
                    <a:pt x="591" y="1473"/>
                  </a:cubicBezTo>
                  <a:cubicBezTo>
                    <a:pt x="591" y="1478"/>
                    <a:pt x="592" y="1482"/>
                    <a:pt x="593" y="1485"/>
                  </a:cubicBezTo>
                  <a:cubicBezTo>
                    <a:pt x="594" y="1486"/>
                    <a:pt x="596" y="1493"/>
                    <a:pt x="598" y="1495"/>
                  </a:cubicBezTo>
                  <a:cubicBezTo>
                    <a:pt x="597" y="1495"/>
                    <a:pt x="597" y="1495"/>
                    <a:pt x="597" y="1495"/>
                  </a:cubicBezTo>
                  <a:cubicBezTo>
                    <a:pt x="593" y="1503"/>
                    <a:pt x="592" y="1522"/>
                    <a:pt x="595" y="1532"/>
                  </a:cubicBezTo>
                  <a:cubicBezTo>
                    <a:pt x="596" y="1535"/>
                    <a:pt x="599" y="1540"/>
                    <a:pt x="602" y="1543"/>
                  </a:cubicBezTo>
                  <a:cubicBezTo>
                    <a:pt x="606" y="1548"/>
                    <a:pt x="606" y="1548"/>
                    <a:pt x="606" y="1548"/>
                  </a:cubicBezTo>
                  <a:cubicBezTo>
                    <a:pt x="609" y="1542"/>
                    <a:pt x="609" y="1542"/>
                    <a:pt x="609" y="1542"/>
                  </a:cubicBezTo>
                  <a:cubicBezTo>
                    <a:pt x="613" y="1534"/>
                    <a:pt x="618" y="1528"/>
                    <a:pt x="627" y="1522"/>
                  </a:cubicBezTo>
                  <a:cubicBezTo>
                    <a:pt x="640" y="1534"/>
                    <a:pt x="670" y="1528"/>
                    <a:pt x="682" y="1517"/>
                  </a:cubicBezTo>
                  <a:cubicBezTo>
                    <a:pt x="686" y="1512"/>
                    <a:pt x="690" y="1505"/>
                    <a:pt x="694" y="1501"/>
                  </a:cubicBezTo>
                  <a:cubicBezTo>
                    <a:pt x="696" y="1498"/>
                    <a:pt x="701" y="1504"/>
                    <a:pt x="703" y="1506"/>
                  </a:cubicBezTo>
                  <a:cubicBezTo>
                    <a:pt x="704" y="1507"/>
                    <a:pt x="709" y="1511"/>
                    <a:pt x="711" y="1512"/>
                  </a:cubicBezTo>
                  <a:cubicBezTo>
                    <a:pt x="713" y="1519"/>
                    <a:pt x="718" y="1527"/>
                    <a:pt x="725" y="1536"/>
                  </a:cubicBezTo>
                  <a:cubicBezTo>
                    <a:pt x="731" y="1544"/>
                    <a:pt x="731" y="1544"/>
                    <a:pt x="731" y="1544"/>
                  </a:cubicBezTo>
                  <a:cubicBezTo>
                    <a:pt x="733" y="1535"/>
                    <a:pt x="733" y="1535"/>
                    <a:pt x="733" y="1535"/>
                  </a:cubicBezTo>
                  <a:cubicBezTo>
                    <a:pt x="734" y="1533"/>
                    <a:pt x="735" y="1531"/>
                    <a:pt x="737" y="1528"/>
                  </a:cubicBezTo>
                  <a:cubicBezTo>
                    <a:pt x="739" y="1526"/>
                    <a:pt x="741" y="1523"/>
                    <a:pt x="743" y="1520"/>
                  </a:cubicBezTo>
                  <a:cubicBezTo>
                    <a:pt x="744" y="1518"/>
                    <a:pt x="745" y="1517"/>
                    <a:pt x="747" y="1515"/>
                  </a:cubicBezTo>
                  <a:cubicBezTo>
                    <a:pt x="749" y="1513"/>
                    <a:pt x="750" y="1511"/>
                    <a:pt x="752" y="1509"/>
                  </a:cubicBezTo>
                  <a:cubicBezTo>
                    <a:pt x="780" y="1507"/>
                    <a:pt x="803" y="1475"/>
                    <a:pt x="791" y="1445"/>
                  </a:cubicBezTo>
                  <a:cubicBezTo>
                    <a:pt x="789" y="1441"/>
                    <a:pt x="785" y="1438"/>
                    <a:pt x="781" y="1435"/>
                  </a:cubicBezTo>
                  <a:cubicBezTo>
                    <a:pt x="782" y="1435"/>
                    <a:pt x="787" y="1431"/>
                    <a:pt x="788" y="1430"/>
                  </a:cubicBezTo>
                  <a:cubicBezTo>
                    <a:pt x="791" y="1428"/>
                    <a:pt x="794" y="1424"/>
                    <a:pt x="795" y="1421"/>
                  </a:cubicBezTo>
                  <a:cubicBezTo>
                    <a:pt x="801" y="1424"/>
                    <a:pt x="807" y="1427"/>
                    <a:pt x="816" y="1426"/>
                  </a:cubicBezTo>
                  <a:cubicBezTo>
                    <a:pt x="819" y="1425"/>
                    <a:pt x="823" y="1425"/>
                    <a:pt x="827" y="1424"/>
                  </a:cubicBezTo>
                  <a:cubicBezTo>
                    <a:pt x="831" y="1423"/>
                    <a:pt x="835" y="1422"/>
                    <a:pt x="838" y="1420"/>
                  </a:cubicBezTo>
                  <a:cubicBezTo>
                    <a:pt x="839" y="1423"/>
                    <a:pt x="841" y="1426"/>
                    <a:pt x="843" y="1428"/>
                  </a:cubicBezTo>
                  <a:cubicBezTo>
                    <a:pt x="844" y="1429"/>
                    <a:pt x="845" y="1430"/>
                    <a:pt x="845" y="1431"/>
                  </a:cubicBezTo>
                  <a:cubicBezTo>
                    <a:pt x="849" y="1436"/>
                    <a:pt x="849" y="1436"/>
                    <a:pt x="849" y="1436"/>
                  </a:cubicBezTo>
                  <a:cubicBezTo>
                    <a:pt x="853" y="1431"/>
                    <a:pt x="853" y="1431"/>
                    <a:pt x="853" y="1431"/>
                  </a:cubicBezTo>
                  <a:cubicBezTo>
                    <a:pt x="858" y="1424"/>
                    <a:pt x="861" y="1421"/>
                    <a:pt x="861" y="1405"/>
                  </a:cubicBezTo>
                  <a:cubicBezTo>
                    <a:pt x="862" y="1398"/>
                    <a:pt x="859" y="1390"/>
                    <a:pt x="856" y="1385"/>
                  </a:cubicBezTo>
                  <a:cubicBezTo>
                    <a:pt x="856" y="1381"/>
                    <a:pt x="855" y="1377"/>
                    <a:pt x="855" y="1374"/>
                  </a:cubicBezTo>
                  <a:cubicBezTo>
                    <a:pt x="854" y="1372"/>
                    <a:pt x="851" y="1366"/>
                    <a:pt x="850" y="1366"/>
                  </a:cubicBezTo>
                  <a:cubicBezTo>
                    <a:pt x="846" y="1361"/>
                    <a:pt x="863" y="1357"/>
                    <a:pt x="871" y="1354"/>
                  </a:cubicBezTo>
                  <a:cubicBezTo>
                    <a:pt x="877" y="1352"/>
                    <a:pt x="887" y="1345"/>
                    <a:pt x="889" y="1341"/>
                  </a:cubicBezTo>
                  <a:cubicBezTo>
                    <a:pt x="889" y="1340"/>
                    <a:pt x="890" y="1339"/>
                    <a:pt x="889" y="1339"/>
                  </a:cubicBezTo>
                  <a:cubicBezTo>
                    <a:pt x="888" y="1339"/>
                    <a:pt x="879" y="1337"/>
                    <a:pt x="877" y="1336"/>
                  </a:cubicBezTo>
                  <a:cubicBezTo>
                    <a:pt x="879" y="1335"/>
                    <a:pt x="897" y="1328"/>
                    <a:pt x="899" y="1326"/>
                  </a:cubicBezTo>
                  <a:cubicBezTo>
                    <a:pt x="903" y="1322"/>
                    <a:pt x="906" y="1318"/>
                    <a:pt x="908" y="1315"/>
                  </a:cubicBezTo>
                  <a:cubicBezTo>
                    <a:pt x="910" y="1313"/>
                    <a:pt x="911" y="1313"/>
                    <a:pt x="910" y="1311"/>
                  </a:cubicBezTo>
                  <a:cubicBezTo>
                    <a:pt x="910" y="1310"/>
                    <a:pt x="908" y="1310"/>
                    <a:pt x="907" y="1310"/>
                  </a:cubicBezTo>
                  <a:cubicBezTo>
                    <a:pt x="904" y="1309"/>
                    <a:pt x="899" y="1309"/>
                    <a:pt x="894" y="1308"/>
                  </a:cubicBezTo>
                  <a:cubicBezTo>
                    <a:pt x="893" y="1308"/>
                    <a:pt x="881" y="1308"/>
                    <a:pt x="879" y="1305"/>
                  </a:cubicBezTo>
                  <a:cubicBezTo>
                    <a:pt x="878" y="1303"/>
                    <a:pt x="887" y="1301"/>
                    <a:pt x="888" y="1300"/>
                  </a:cubicBezTo>
                  <a:cubicBezTo>
                    <a:pt x="894" y="1297"/>
                    <a:pt x="899" y="1293"/>
                    <a:pt x="903" y="1289"/>
                  </a:cubicBezTo>
                  <a:cubicBezTo>
                    <a:pt x="905" y="1286"/>
                    <a:pt x="907" y="1284"/>
                    <a:pt x="909" y="1281"/>
                  </a:cubicBezTo>
                  <a:cubicBezTo>
                    <a:pt x="909" y="1280"/>
                    <a:pt x="910" y="1277"/>
                    <a:pt x="911" y="1275"/>
                  </a:cubicBezTo>
                  <a:cubicBezTo>
                    <a:pt x="918" y="1274"/>
                    <a:pt x="933" y="1259"/>
                    <a:pt x="936" y="1249"/>
                  </a:cubicBezTo>
                  <a:cubicBezTo>
                    <a:pt x="937" y="1247"/>
                    <a:pt x="937" y="1246"/>
                    <a:pt x="937" y="1245"/>
                  </a:cubicBezTo>
                  <a:cubicBezTo>
                    <a:pt x="937" y="1243"/>
                    <a:pt x="936" y="1243"/>
                    <a:pt x="934" y="1243"/>
                  </a:cubicBezTo>
                  <a:cubicBezTo>
                    <a:pt x="930" y="1244"/>
                    <a:pt x="924" y="1246"/>
                    <a:pt x="921" y="1246"/>
                  </a:cubicBezTo>
                  <a:cubicBezTo>
                    <a:pt x="908" y="1247"/>
                    <a:pt x="919" y="1238"/>
                    <a:pt x="927" y="1228"/>
                  </a:cubicBezTo>
                  <a:cubicBezTo>
                    <a:pt x="928" y="1222"/>
                    <a:pt x="933" y="1216"/>
                    <a:pt x="936" y="1212"/>
                  </a:cubicBezTo>
                  <a:cubicBezTo>
                    <a:pt x="944" y="1202"/>
                    <a:pt x="947" y="1197"/>
                    <a:pt x="947" y="1189"/>
                  </a:cubicBezTo>
                  <a:cubicBezTo>
                    <a:pt x="947" y="1187"/>
                    <a:pt x="947" y="1184"/>
                    <a:pt x="945" y="1183"/>
                  </a:cubicBezTo>
                  <a:cubicBezTo>
                    <a:pt x="944" y="1182"/>
                    <a:pt x="942" y="1182"/>
                    <a:pt x="941" y="1182"/>
                  </a:cubicBezTo>
                  <a:cubicBezTo>
                    <a:pt x="937" y="1182"/>
                    <a:pt x="934" y="1183"/>
                    <a:pt x="930" y="1183"/>
                  </a:cubicBezTo>
                  <a:cubicBezTo>
                    <a:pt x="929" y="1183"/>
                    <a:pt x="925" y="1184"/>
                    <a:pt x="923" y="1185"/>
                  </a:cubicBezTo>
                  <a:cubicBezTo>
                    <a:pt x="920" y="1185"/>
                    <a:pt x="915" y="1184"/>
                    <a:pt x="912" y="1184"/>
                  </a:cubicBezTo>
                  <a:cubicBezTo>
                    <a:pt x="899" y="1182"/>
                    <a:pt x="874" y="1162"/>
                    <a:pt x="867" y="1153"/>
                  </a:cubicBezTo>
                  <a:cubicBezTo>
                    <a:pt x="862" y="1146"/>
                    <a:pt x="834" y="1123"/>
                    <a:pt x="825" y="1121"/>
                  </a:cubicBezTo>
                  <a:cubicBezTo>
                    <a:pt x="830" y="1075"/>
                    <a:pt x="832" y="1020"/>
                    <a:pt x="828" y="969"/>
                  </a:cubicBezTo>
                  <a:cubicBezTo>
                    <a:pt x="842" y="991"/>
                    <a:pt x="858" y="1011"/>
                    <a:pt x="877" y="1028"/>
                  </a:cubicBezTo>
                  <a:cubicBezTo>
                    <a:pt x="902" y="1050"/>
                    <a:pt x="929" y="1069"/>
                    <a:pt x="952" y="1092"/>
                  </a:cubicBezTo>
                  <a:cubicBezTo>
                    <a:pt x="974" y="1114"/>
                    <a:pt x="991" y="1136"/>
                    <a:pt x="1001" y="1167"/>
                  </a:cubicBezTo>
                  <a:cubicBezTo>
                    <a:pt x="1005" y="1182"/>
                    <a:pt x="1005" y="1200"/>
                    <a:pt x="1005" y="1218"/>
                  </a:cubicBezTo>
                  <a:cubicBezTo>
                    <a:pt x="1005" y="1225"/>
                    <a:pt x="997" y="1251"/>
                    <a:pt x="1011" y="1237"/>
                  </a:cubicBezTo>
                  <a:cubicBezTo>
                    <a:pt x="1027" y="1220"/>
                    <a:pt x="1034" y="1208"/>
                    <a:pt x="1045" y="1188"/>
                  </a:cubicBezTo>
                  <a:cubicBezTo>
                    <a:pt x="1048" y="1181"/>
                    <a:pt x="1053" y="1166"/>
                    <a:pt x="1053" y="1157"/>
                  </a:cubicBezTo>
                  <a:cubicBezTo>
                    <a:pt x="1053" y="1150"/>
                    <a:pt x="1053" y="1143"/>
                    <a:pt x="1053" y="1136"/>
                  </a:cubicBezTo>
                  <a:cubicBezTo>
                    <a:pt x="1052" y="1128"/>
                    <a:pt x="1048" y="1117"/>
                    <a:pt x="1048" y="1113"/>
                  </a:cubicBezTo>
                  <a:cubicBezTo>
                    <a:pt x="1048" y="1106"/>
                    <a:pt x="1053" y="1110"/>
                    <a:pt x="1057" y="1112"/>
                  </a:cubicBezTo>
                  <a:cubicBezTo>
                    <a:pt x="1063" y="1117"/>
                    <a:pt x="1077" y="1120"/>
                    <a:pt x="1082" y="1120"/>
                  </a:cubicBezTo>
                  <a:cubicBezTo>
                    <a:pt x="1091" y="1120"/>
                    <a:pt x="1100" y="1120"/>
                    <a:pt x="1109" y="1119"/>
                  </a:cubicBezTo>
                  <a:cubicBezTo>
                    <a:pt x="1127" y="1117"/>
                    <a:pt x="1145" y="1113"/>
                    <a:pt x="1161" y="1105"/>
                  </a:cubicBezTo>
                  <a:close/>
                  <a:moveTo>
                    <a:pt x="808" y="448"/>
                  </a:moveTo>
                  <a:cubicBezTo>
                    <a:pt x="810" y="456"/>
                    <a:pt x="815" y="463"/>
                    <a:pt x="816" y="466"/>
                  </a:cubicBezTo>
                  <a:cubicBezTo>
                    <a:pt x="817" y="470"/>
                    <a:pt x="825" y="480"/>
                    <a:pt x="825" y="482"/>
                  </a:cubicBezTo>
                  <a:cubicBezTo>
                    <a:pt x="816" y="485"/>
                    <a:pt x="788" y="473"/>
                    <a:pt x="781" y="466"/>
                  </a:cubicBezTo>
                  <a:cubicBezTo>
                    <a:pt x="770" y="455"/>
                    <a:pt x="758" y="437"/>
                    <a:pt x="749" y="425"/>
                  </a:cubicBezTo>
                  <a:cubicBezTo>
                    <a:pt x="747" y="423"/>
                    <a:pt x="744" y="419"/>
                    <a:pt x="741" y="417"/>
                  </a:cubicBezTo>
                  <a:cubicBezTo>
                    <a:pt x="736" y="412"/>
                    <a:pt x="732" y="410"/>
                    <a:pt x="727" y="405"/>
                  </a:cubicBezTo>
                  <a:cubicBezTo>
                    <a:pt x="724" y="403"/>
                    <a:pt x="716" y="395"/>
                    <a:pt x="712" y="395"/>
                  </a:cubicBezTo>
                  <a:cubicBezTo>
                    <a:pt x="706" y="396"/>
                    <a:pt x="715" y="407"/>
                    <a:pt x="717" y="409"/>
                  </a:cubicBezTo>
                  <a:cubicBezTo>
                    <a:pt x="730" y="422"/>
                    <a:pt x="730" y="422"/>
                    <a:pt x="730" y="422"/>
                  </a:cubicBezTo>
                  <a:cubicBezTo>
                    <a:pt x="739" y="431"/>
                    <a:pt x="746" y="440"/>
                    <a:pt x="752" y="450"/>
                  </a:cubicBezTo>
                  <a:cubicBezTo>
                    <a:pt x="754" y="454"/>
                    <a:pt x="757" y="460"/>
                    <a:pt x="758" y="462"/>
                  </a:cubicBezTo>
                  <a:cubicBezTo>
                    <a:pt x="761" y="468"/>
                    <a:pt x="764" y="476"/>
                    <a:pt x="765" y="482"/>
                  </a:cubicBezTo>
                  <a:cubicBezTo>
                    <a:pt x="766" y="496"/>
                    <a:pt x="766" y="513"/>
                    <a:pt x="764" y="525"/>
                  </a:cubicBezTo>
                  <a:cubicBezTo>
                    <a:pt x="762" y="540"/>
                    <a:pt x="760" y="548"/>
                    <a:pt x="757" y="557"/>
                  </a:cubicBezTo>
                  <a:cubicBezTo>
                    <a:pt x="755" y="560"/>
                    <a:pt x="750" y="576"/>
                    <a:pt x="746" y="579"/>
                  </a:cubicBezTo>
                  <a:cubicBezTo>
                    <a:pt x="744" y="537"/>
                    <a:pt x="709" y="471"/>
                    <a:pt x="693" y="461"/>
                  </a:cubicBezTo>
                  <a:cubicBezTo>
                    <a:pt x="681" y="461"/>
                    <a:pt x="699" y="479"/>
                    <a:pt x="705" y="492"/>
                  </a:cubicBezTo>
                  <a:cubicBezTo>
                    <a:pt x="712" y="508"/>
                    <a:pt x="724" y="533"/>
                    <a:pt x="727" y="550"/>
                  </a:cubicBezTo>
                  <a:cubicBezTo>
                    <a:pt x="729" y="562"/>
                    <a:pt x="733" y="575"/>
                    <a:pt x="734" y="585"/>
                  </a:cubicBezTo>
                  <a:cubicBezTo>
                    <a:pt x="736" y="602"/>
                    <a:pt x="757" y="647"/>
                    <a:pt x="766" y="649"/>
                  </a:cubicBezTo>
                  <a:cubicBezTo>
                    <a:pt x="748" y="651"/>
                    <a:pt x="710" y="630"/>
                    <a:pt x="700" y="612"/>
                  </a:cubicBezTo>
                  <a:cubicBezTo>
                    <a:pt x="697" y="606"/>
                    <a:pt x="688" y="608"/>
                    <a:pt x="688" y="582"/>
                  </a:cubicBezTo>
                  <a:cubicBezTo>
                    <a:pt x="688" y="569"/>
                    <a:pt x="691" y="555"/>
                    <a:pt x="690" y="546"/>
                  </a:cubicBezTo>
                  <a:cubicBezTo>
                    <a:pt x="684" y="544"/>
                    <a:pt x="685" y="548"/>
                    <a:pt x="681" y="563"/>
                  </a:cubicBezTo>
                  <a:cubicBezTo>
                    <a:pt x="678" y="579"/>
                    <a:pt x="679" y="593"/>
                    <a:pt x="675" y="609"/>
                  </a:cubicBezTo>
                  <a:cubicBezTo>
                    <a:pt x="671" y="626"/>
                    <a:pt x="657" y="659"/>
                    <a:pt x="658" y="679"/>
                  </a:cubicBezTo>
                  <a:cubicBezTo>
                    <a:pt x="648" y="666"/>
                    <a:pt x="636" y="654"/>
                    <a:pt x="629" y="635"/>
                  </a:cubicBezTo>
                  <a:cubicBezTo>
                    <a:pt x="623" y="618"/>
                    <a:pt x="620" y="592"/>
                    <a:pt x="620" y="576"/>
                  </a:cubicBezTo>
                  <a:cubicBezTo>
                    <a:pt x="622" y="570"/>
                    <a:pt x="625" y="559"/>
                    <a:pt x="627" y="553"/>
                  </a:cubicBezTo>
                  <a:cubicBezTo>
                    <a:pt x="645" y="555"/>
                    <a:pt x="657" y="553"/>
                    <a:pt x="665" y="548"/>
                  </a:cubicBezTo>
                  <a:cubicBezTo>
                    <a:pt x="674" y="543"/>
                    <a:pt x="679" y="536"/>
                    <a:pt x="684" y="528"/>
                  </a:cubicBezTo>
                  <a:cubicBezTo>
                    <a:pt x="686" y="525"/>
                    <a:pt x="684" y="523"/>
                    <a:pt x="680" y="524"/>
                  </a:cubicBezTo>
                  <a:cubicBezTo>
                    <a:pt x="670" y="525"/>
                    <a:pt x="660" y="521"/>
                    <a:pt x="655" y="514"/>
                  </a:cubicBezTo>
                  <a:cubicBezTo>
                    <a:pt x="653" y="511"/>
                    <a:pt x="650" y="504"/>
                    <a:pt x="648" y="501"/>
                  </a:cubicBezTo>
                  <a:cubicBezTo>
                    <a:pt x="647" y="499"/>
                    <a:pt x="645" y="494"/>
                    <a:pt x="646" y="494"/>
                  </a:cubicBezTo>
                  <a:cubicBezTo>
                    <a:pt x="653" y="487"/>
                    <a:pt x="654" y="487"/>
                    <a:pt x="658" y="477"/>
                  </a:cubicBezTo>
                  <a:cubicBezTo>
                    <a:pt x="663" y="466"/>
                    <a:pt x="669" y="456"/>
                    <a:pt x="674" y="445"/>
                  </a:cubicBezTo>
                  <a:cubicBezTo>
                    <a:pt x="675" y="442"/>
                    <a:pt x="689" y="425"/>
                    <a:pt x="694" y="418"/>
                  </a:cubicBezTo>
                  <a:cubicBezTo>
                    <a:pt x="697" y="412"/>
                    <a:pt x="701" y="404"/>
                    <a:pt x="704" y="396"/>
                  </a:cubicBezTo>
                  <a:cubicBezTo>
                    <a:pt x="706" y="388"/>
                    <a:pt x="710" y="378"/>
                    <a:pt x="710" y="370"/>
                  </a:cubicBezTo>
                  <a:cubicBezTo>
                    <a:pt x="710" y="363"/>
                    <a:pt x="709" y="360"/>
                    <a:pt x="707" y="354"/>
                  </a:cubicBezTo>
                  <a:cubicBezTo>
                    <a:pt x="713" y="356"/>
                    <a:pt x="729" y="362"/>
                    <a:pt x="740" y="360"/>
                  </a:cubicBezTo>
                  <a:cubicBezTo>
                    <a:pt x="744" y="359"/>
                    <a:pt x="748" y="357"/>
                    <a:pt x="753" y="355"/>
                  </a:cubicBezTo>
                  <a:cubicBezTo>
                    <a:pt x="761" y="359"/>
                    <a:pt x="775" y="372"/>
                    <a:pt x="781" y="379"/>
                  </a:cubicBezTo>
                  <a:cubicBezTo>
                    <a:pt x="785" y="385"/>
                    <a:pt x="788" y="390"/>
                    <a:pt x="790" y="397"/>
                  </a:cubicBezTo>
                  <a:cubicBezTo>
                    <a:pt x="791" y="400"/>
                    <a:pt x="795" y="410"/>
                    <a:pt x="796" y="414"/>
                  </a:cubicBezTo>
                  <a:cubicBezTo>
                    <a:pt x="799" y="425"/>
                    <a:pt x="804" y="437"/>
                    <a:pt x="808" y="448"/>
                  </a:cubicBezTo>
                  <a:close/>
                  <a:moveTo>
                    <a:pt x="782" y="247"/>
                  </a:moveTo>
                  <a:cubicBezTo>
                    <a:pt x="790" y="249"/>
                    <a:pt x="798" y="248"/>
                    <a:pt x="803" y="247"/>
                  </a:cubicBezTo>
                  <a:cubicBezTo>
                    <a:pt x="807" y="246"/>
                    <a:pt x="815" y="244"/>
                    <a:pt x="818" y="240"/>
                  </a:cubicBezTo>
                  <a:cubicBezTo>
                    <a:pt x="821" y="253"/>
                    <a:pt x="810" y="271"/>
                    <a:pt x="802" y="276"/>
                  </a:cubicBezTo>
                  <a:cubicBezTo>
                    <a:pt x="790" y="284"/>
                    <a:pt x="788" y="278"/>
                    <a:pt x="780" y="273"/>
                  </a:cubicBezTo>
                  <a:cubicBezTo>
                    <a:pt x="773" y="269"/>
                    <a:pt x="767" y="264"/>
                    <a:pt x="759" y="263"/>
                  </a:cubicBezTo>
                  <a:cubicBezTo>
                    <a:pt x="754" y="264"/>
                    <a:pt x="755" y="267"/>
                    <a:pt x="759" y="270"/>
                  </a:cubicBezTo>
                  <a:cubicBezTo>
                    <a:pt x="763" y="272"/>
                    <a:pt x="769" y="277"/>
                    <a:pt x="771" y="278"/>
                  </a:cubicBezTo>
                  <a:cubicBezTo>
                    <a:pt x="775" y="282"/>
                    <a:pt x="792" y="295"/>
                    <a:pt x="795" y="303"/>
                  </a:cubicBezTo>
                  <a:cubicBezTo>
                    <a:pt x="800" y="311"/>
                    <a:pt x="800" y="316"/>
                    <a:pt x="801" y="325"/>
                  </a:cubicBezTo>
                  <a:cubicBezTo>
                    <a:pt x="801" y="328"/>
                    <a:pt x="800" y="334"/>
                    <a:pt x="800" y="337"/>
                  </a:cubicBezTo>
                  <a:cubicBezTo>
                    <a:pt x="798" y="331"/>
                    <a:pt x="763" y="297"/>
                    <a:pt x="754" y="297"/>
                  </a:cubicBezTo>
                  <a:cubicBezTo>
                    <a:pt x="746" y="299"/>
                    <a:pt x="752" y="303"/>
                    <a:pt x="755" y="305"/>
                  </a:cubicBezTo>
                  <a:cubicBezTo>
                    <a:pt x="760" y="310"/>
                    <a:pt x="766" y="315"/>
                    <a:pt x="768" y="317"/>
                  </a:cubicBezTo>
                  <a:cubicBezTo>
                    <a:pt x="775" y="323"/>
                    <a:pt x="788" y="339"/>
                    <a:pt x="792" y="348"/>
                  </a:cubicBezTo>
                  <a:cubicBezTo>
                    <a:pt x="799" y="359"/>
                    <a:pt x="800" y="378"/>
                    <a:pt x="798" y="390"/>
                  </a:cubicBezTo>
                  <a:cubicBezTo>
                    <a:pt x="799" y="386"/>
                    <a:pt x="788" y="372"/>
                    <a:pt x="781" y="365"/>
                  </a:cubicBezTo>
                  <a:cubicBezTo>
                    <a:pt x="776" y="360"/>
                    <a:pt x="768" y="352"/>
                    <a:pt x="760" y="350"/>
                  </a:cubicBezTo>
                  <a:cubicBezTo>
                    <a:pt x="761" y="349"/>
                    <a:pt x="763" y="349"/>
                    <a:pt x="763" y="348"/>
                  </a:cubicBezTo>
                  <a:cubicBezTo>
                    <a:pt x="766" y="346"/>
                    <a:pt x="767" y="343"/>
                    <a:pt x="768" y="339"/>
                  </a:cubicBezTo>
                  <a:cubicBezTo>
                    <a:pt x="768" y="337"/>
                    <a:pt x="767" y="337"/>
                    <a:pt x="765" y="337"/>
                  </a:cubicBezTo>
                  <a:cubicBezTo>
                    <a:pt x="759" y="338"/>
                    <a:pt x="752" y="338"/>
                    <a:pt x="750" y="337"/>
                  </a:cubicBezTo>
                  <a:cubicBezTo>
                    <a:pt x="746" y="336"/>
                    <a:pt x="745" y="336"/>
                    <a:pt x="741" y="332"/>
                  </a:cubicBezTo>
                  <a:cubicBezTo>
                    <a:pt x="731" y="323"/>
                    <a:pt x="731" y="325"/>
                    <a:pt x="736" y="315"/>
                  </a:cubicBezTo>
                  <a:cubicBezTo>
                    <a:pt x="741" y="305"/>
                    <a:pt x="742" y="295"/>
                    <a:pt x="743" y="274"/>
                  </a:cubicBezTo>
                  <a:cubicBezTo>
                    <a:pt x="744" y="257"/>
                    <a:pt x="736" y="242"/>
                    <a:pt x="734" y="234"/>
                  </a:cubicBezTo>
                  <a:cubicBezTo>
                    <a:pt x="742" y="234"/>
                    <a:pt x="748" y="233"/>
                    <a:pt x="753" y="231"/>
                  </a:cubicBezTo>
                  <a:cubicBezTo>
                    <a:pt x="762" y="239"/>
                    <a:pt x="770" y="243"/>
                    <a:pt x="782" y="247"/>
                  </a:cubicBezTo>
                  <a:close/>
                  <a:moveTo>
                    <a:pt x="541" y="59"/>
                  </a:moveTo>
                  <a:cubicBezTo>
                    <a:pt x="540" y="56"/>
                    <a:pt x="538" y="50"/>
                    <a:pt x="536" y="45"/>
                  </a:cubicBezTo>
                  <a:cubicBezTo>
                    <a:pt x="534" y="42"/>
                    <a:pt x="534" y="41"/>
                    <a:pt x="531" y="38"/>
                  </a:cubicBezTo>
                  <a:cubicBezTo>
                    <a:pt x="529" y="36"/>
                    <a:pt x="525" y="28"/>
                    <a:pt x="528" y="28"/>
                  </a:cubicBezTo>
                  <a:cubicBezTo>
                    <a:pt x="532" y="27"/>
                    <a:pt x="533" y="27"/>
                    <a:pt x="539" y="30"/>
                  </a:cubicBezTo>
                  <a:cubicBezTo>
                    <a:pt x="549" y="36"/>
                    <a:pt x="549" y="46"/>
                    <a:pt x="557" y="47"/>
                  </a:cubicBezTo>
                  <a:cubicBezTo>
                    <a:pt x="564" y="47"/>
                    <a:pt x="574" y="47"/>
                    <a:pt x="576" y="54"/>
                  </a:cubicBezTo>
                  <a:cubicBezTo>
                    <a:pt x="580" y="75"/>
                    <a:pt x="570" y="71"/>
                    <a:pt x="561" y="81"/>
                  </a:cubicBezTo>
                  <a:cubicBezTo>
                    <a:pt x="557" y="86"/>
                    <a:pt x="550" y="93"/>
                    <a:pt x="561" y="91"/>
                  </a:cubicBezTo>
                  <a:cubicBezTo>
                    <a:pt x="573" y="88"/>
                    <a:pt x="577" y="78"/>
                    <a:pt x="583" y="77"/>
                  </a:cubicBezTo>
                  <a:cubicBezTo>
                    <a:pt x="586" y="78"/>
                    <a:pt x="588" y="83"/>
                    <a:pt x="592" y="86"/>
                  </a:cubicBezTo>
                  <a:cubicBezTo>
                    <a:pt x="596" y="88"/>
                    <a:pt x="603" y="90"/>
                    <a:pt x="607" y="90"/>
                  </a:cubicBezTo>
                  <a:cubicBezTo>
                    <a:pt x="609" y="90"/>
                    <a:pt x="611" y="86"/>
                    <a:pt x="609" y="85"/>
                  </a:cubicBezTo>
                  <a:cubicBezTo>
                    <a:pt x="605" y="82"/>
                    <a:pt x="599" y="80"/>
                    <a:pt x="594" y="75"/>
                  </a:cubicBezTo>
                  <a:cubicBezTo>
                    <a:pt x="590" y="70"/>
                    <a:pt x="589" y="70"/>
                    <a:pt x="589" y="60"/>
                  </a:cubicBezTo>
                  <a:cubicBezTo>
                    <a:pt x="590" y="45"/>
                    <a:pt x="597" y="42"/>
                    <a:pt x="605" y="43"/>
                  </a:cubicBezTo>
                  <a:cubicBezTo>
                    <a:pt x="609" y="43"/>
                    <a:pt x="611" y="39"/>
                    <a:pt x="611" y="39"/>
                  </a:cubicBezTo>
                  <a:cubicBezTo>
                    <a:pt x="614" y="34"/>
                    <a:pt x="616" y="28"/>
                    <a:pt x="620" y="23"/>
                  </a:cubicBezTo>
                  <a:cubicBezTo>
                    <a:pt x="624" y="17"/>
                    <a:pt x="631" y="11"/>
                    <a:pt x="637" y="11"/>
                  </a:cubicBezTo>
                  <a:cubicBezTo>
                    <a:pt x="644" y="11"/>
                    <a:pt x="650" y="19"/>
                    <a:pt x="652" y="25"/>
                  </a:cubicBezTo>
                  <a:cubicBezTo>
                    <a:pt x="654" y="27"/>
                    <a:pt x="655" y="31"/>
                    <a:pt x="655" y="34"/>
                  </a:cubicBezTo>
                  <a:cubicBezTo>
                    <a:pt x="655" y="37"/>
                    <a:pt x="656" y="38"/>
                    <a:pt x="659" y="42"/>
                  </a:cubicBezTo>
                  <a:cubicBezTo>
                    <a:pt x="661" y="43"/>
                    <a:pt x="666" y="43"/>
                    <a:pt x="668" y="44"/>
                  </a:cubicBezTo>
                  <a:cubicBezTo>
                    <a:pt x="672" y="45"/>
                    <a:pt x="679" y="49"/>
                    <a:pt x="680" y="53"/>
                  </a:cubicBezTo>
                  <a:cubicBezTo>
                    <a:pt x="682" y="60"/>
                    <a:pt x="680" y="64"/>
                    <a:pt x="679" y="68"/>
                  </a:cubicBezTo>
                  <a:cubicBezTo>
                    <a:pt x="675" y="74"/>
                    <a:pt x="672" y="77"/>
                    <a:pt x="668" y="78"/>
                  </a:cubicBezTo>
                  <a:cubicBezTo>
                    <a:pt x="664" y="80"/>
                    <a:pt x="660" y="80"/>
                    <a:pt x="657" y="83"/>
                  </a:cubicBezTo>
                  <a:cubicBezTo>
                    <a:pt x="654" y="87"/>
                    <a:pt x="659" y="89"/>
                    <a:pt x="665" y="88"/>
                  </a:cubicBezTo>
                  <a:cubicBezTo>
                    <a:pt x="670" y="86"/>
                    <a:pt x="678" y="82"/>
                    <a:pt x="684" y="79"/>
                  </a:cubicBezTo>
                  <a:cubicBezTo>
                    <a:pt x="687" y="83"/>
                    <a:pt x="693" y="86"/>
                    <a:pt x="695" y="88"/>
                  </a:cubicBezTo>
                  <a:cubicBezTo>
                    <a:pt x="698" y="89"/>
                    <a:pt x="705" y="93"/>
                    <a:pt x="711" y="92"/>
                  </a:cubicBezTo>
                  <a:cubicBezTo>
                    <a:pt x="711" y="91"/>
                    <a:pt x="714" y="86"/>
                    <a:pt x="711" y="85"/>
                  </a:cubicBezTo>
                  <a:cubicBezTo>
                    <a:pt x="704" y="84"/>
                    <a:pt x="700" y="80"/>
                    <a:pt x="698" y="79"/>
                  </a:cubicBezTo>
                  <a:cubicBezTo>
                    <a:pt x="697" y="77"/>
                    <a:pt x="694" y="74"/>
                    <a:pt x="693" y="70"/>
                  </a:cubicBezTo>
                  <a:cubicBezTo>
                    <a:pt x="693" y="60"/>
                    <a:pt x="694" y="59"/>
                    <a:pt x="701" y="51"/>
                  </a:cubicBezTo>
                  <a:cubicBezTo>
                    <a:pt x="707" y="47"/>
                    <a:pt x="710" y="48"/>
                    <a:pt x="716" y="51"/>
                  </a:cubicBezTo>
                  <a:cubicBezTo>
                    <a:pt x="720" y="54"/>
                    <a:pt x="722" y="45"/>
                    <a:pt x="725" y="42"/>
                  </a:cubicBezTo>
                  <a:cubicBezTo>
                    <a:pt x="729" y="36"/>
                    <a:pt x="748" y="21"/>
                    <a:pt x="749" y="28"/>
                  </a:cubicBezTo>
                  <a:cubicBezTo>
                    <a:pt x="743" y="38"/>
                    <a:pt x="740" y="45"/>
                    <a:pt x="737" y="55"/>
                  </a:cubicBezTo>
                  <a:cubicBezTo>
                    <a:pt x="732" y="69"/>
                    <a:pt x="728" y="87"/>
                    <a:pt x="725" y="104"/>
                  </a:cubicBezTo>
                  <a:cubicBezTo>
                    <a:pt x="621" y="102"/>
                    <a:pt x="621" y="102"/>
                    <a:pt x="621" y="102"/>
                  </a:cubicBezTo>
                  <a:cubicBezTo>
                    <a:pt x="621" y="102"/>
                    <a:pt x="621" y="102"/>
                    <a:pt x="621" y="102"/>
                  </a:cubicBezTo>
                  <a:cubicBezTo>
                    <a:pt x="618" y="102"/>
                    <a:pt x="616" y="104"/>
                    <a:pt x="616" y="107"/>
                  </a:cubicBezTo>
                  <a:cubicBezTo>
                    <a:pt x="616" y="109"/>
                    <a:pt x="618" y="111"/>
                    <a:pt x="620" y="111"/>
                  </a:cubicBezTo>
                  <a:cubicBezTo>
                    <a:pt x="723" y="112"/>
                    <a:pt x="723" y="112"/>
                    <a:pt x="723" y="112"/>
                  </a:cubicBezTo>
                  <a:cubicBezTo>
                    <a:pt x="722" y="118"/>
                    <a:pt x="722" y="124"/>
                    <a:pt x="721" y="130"/>
                  </a:cubicBezTo>
                  <a:cubicBezTo>
                    <a:pt x="556" y="130"/>
                    <a:pt x="556" y="130"/>
                    <a:pt x="556" y="130"/>
                  </a:cubicBezTo>
                  <a:cubicBezTo>
                    <a:pt x="554" y="121"/>
                    <a:pt x="553" y="113"/>
                    <a:pt x="551" y="105"/>
                  </a:cubicBezTo>
                  <a:cubicBezTo>
                    <a:pt x="548" y="91"/>
                    <a:pt x="547" y="87"/>
                    <a:pt x="545" y="74"/>
                  </a:cubicBezTo>
                  <a:cubicBezTo>
                    <a:pt x="543" y="64"/>
                    <a:pt x="542" y="60"/>
                    <a:pt x="541" y="59"/>
                  </a:cubicBezTo>
                  <a:close/>
                  <a:moveTo>
                    <a:pt x="513" y="257"/>
                  </a:moveTo>
                  <a:cubicBezTo>
                    <a:pt x="511" y="254"/>
                    <a:pt x="511" y="252"/>
                    <a:pt x="511" y="249"/>
                  </a:cubicBezTo>
                  <a:cubicBezTo>
                    <a:pt x="517" y="247"/>
                    <a:pt x="522" y="245"/>
                    <a:pt x="527" y="242"/>
                  </a:cubicBezTo>
                  <a:cubicBezTo>
                    <a:pt x="526" y="247"/>
                    <a:pt x="525" y="253"/>
                    <a:pt x="525" y="256"/>
                  </a:cubicBezTo>
                  <a:cubicBezTo>
                    <a:pt x="525" y="261"/>
                    <a:pt x="526" y="269"/>
                    <a:pt x="521" y="265"/>
                  </a:cubicBezTo>
                  <a:cubicBezTo>
                    <a:pt x="519" y="263"/>
                    <a:pt x="515" y="259"/>
                    <a:pt x="513" y="257"/>
                  </a:cubicBezTo>
                  <a:close/>
                  <a:moveTo>
                    <a:pt x="531" y="258"/>
                  </a:moveTo>
                  <a:cubicBezTo>
                    <a:pt x="531" y="255"/>
                    <a:pt x="532" y="250"/>
                    <a:pt x="533" y="247"/>
                  </a:cubicBezTo>
                  <a:cubicBezTo>
                    <a:pt x="533" y="246"/>
                    <a:pt x="537" y="241"/>
                    <a:pt x="538" y="239"/>
                  </a:cubicBezTo>
                  <a:cubicBezTo>
                    <a:pt x="542" y="238"/>
                    <a:pt x="545" y="237"/>
                    <a:pt x="548" y="237"/>
                  </a:cubicBezTo>
                  <a:cubicBezTo>
                    <a:pt x="569" y="236"/>
                    <a:pt x="576" y="252"/>
                    <a:pt x="574" y="272"/>
                  </a:cubicBezTo>
                  <a:cubicBezTo>
                    <a:pt x="575" y="277"/>
                    <a:pt x="582" y="278"/>
                    <a:pt x="579" y="289"/>
                  </a:cubicBezTo>
                  <a:cubicBezTo>
                    <a:pt x="566" y="276"/>
                    <a:pt x="548" y="274"/>
                    <a:pt x="530" y="274"/>
                  </a:cubicBezTo>
                  <a:cubicBezTo>
                    <a:pt x="531" y="269"/>
                    <a:pt x="531" y="261"/>
                    <a:pt x="531" y="258"/>
                  </a:cubicBezTo>
                  <a:close/>
                  <a:moveTo>
                    <a:pt x="532" y="300"/>
                  </a:moveTo>
                  <a:cubicBezTo>
                    <a:pt x="531" y="295"/>
                    <a:pt x="531" y="286"/>
                    <a:pt x="532" y="285"/>
                  </a:cubicBezTo>
                  <a:cubicBezTo>
                    <a:pt x="534" y="285"/>
                    <a:pt x="535" y="287"/>
                    <a:pt x="536" y="288"/>
                  </a:cubicBezTo>
                  <a:cubicBezTo>
                    <a:pt x="542" y="294"/>
                    <a:pt x="542" y="294"/>
                    <a:pt x="542" y="294"/>
                  </a:cubicBezTo>
                  <a:cubicBezTo>
                    <a:pt x="543" y="295"/>
                    <a:pt x="545" y="298"/>
                    <a:pt x="547" y="300"/>
                  </a:cubicBezTo>
                  <a:cubicBezTo>
                    <a:pt x="541" y="299"/>
                    <a:pt x="536" y="299"/>
                    <a:pt x="532" y="300"/>
                  </a:cubicBezTo>
                  <a:close/>
                  <a:moveTo>
                    <a:pt x="562" y="301"/>
                  </a:moveTo>
                  <a:cubicBezTo>
                    <a:pt x="561" y="299"/>
                    <a:pt x="558" y="297"/>
                    <a:pt x="556" y="295"/>
                  </a:cubicBezTo>
                  <a:cubicBezTo>
                    <a:pt x="549" y="291"/>
                    <a:pt x="551" y="294"/>
                    <a:pt x="542" y="284"/>
                  </a:cubicBezTo>
                  <a:cubicBezTo>
                    <a:pt x="541" y="283"/>
                    <a:pt x="540" y="282"/>
                    <a:pt x="539" y="281"/>
                  </a:cubicBezTo>
                  <a:cubicBezTo>
                    <a:pt x="543" y="281"/>
                    <a:pt x="547" y="282"/>
                    <a:pt x="551" y="282"/>
                  </a:cubicBezTo>
                  <a:cubicBezTo>
                    <a:pt x="555" y="283"/>
                    <a:pt x="573" y="289"/>
                    <a:pt x="578" y="293"/>
                  </a:cubicBezTo>
                  <a:cubicBezTo>
                    <a:pt x="576" y="298"/>
                    <a:pt x="574" y="301"/>
                    <a:pt x="568" y="301"/>
                  </a:cubicBezTo>
                  <a:cubicBezTo>
                    <a:pt x="566" y="301"/>
                    <a:pt x="564" y="301"/>
                    <a:pt x="562" y="301"/>
                  </a:cubicBezTo>
                  <a:close/>
                  <a:moveTo>
                    <a:pt x="483" y="303"/>
                  </a:moveTo>
                  <a:cubicBezTo>
                    <a:pt x="468" y="304"/>
                    <a:pt x="452" y="305"/>
                    <a:pt x="435" y="300"/>
                  </a:cubicBezTo>
                  <a:cubicBezTo>
                    <a:pt x="427" y="297"/>
                    <a:pt x="416" y="291"/>
                    <a:pt x="411" y="285"/>
                  </a:cubicBezTo>
                  <a:cubicBezTo>
                    <a:pt x="407" y="281"/>
                    <a:pt x="406" y="280"/>
                    <a:pt x="403" y="273"/>
                  </a:cubicBezTo>
                  <a:cubicBezTo>
                    <a:pt x="400" y="264"/>
                    <a:pt x="401" y="257"/>
                    <a:pt x="402" y="250"/>
                  </a:cubicBezTo>
                  <a:cubicBezTo>
                    <a:pt x="404" y="241"/>
                    <a:pt x="413" y="234"/>
                    <a:pt x="414" y="233"/>
                  </a:cubicBezTo>
                  <a:cubicBezTo>
                    <a:pt x="415" y="245"/>
                    <a:pt x="415" y="250"/>
                    <a:pt x="421" y="259"/>
                  </a:cubicBezTo>
                  <a:cubicBezTo>
                    <a:pt x="439" y="286"/>
                    <a:pt x="479" y="285"/>
                    <a:pt x="522" y="281"/>
                  </a:cubicBezTo>
                  <a:cubicBezTo>
                    <a:pt x="523" y="281"/>
                    <a:pt x="524" y="281"/>
                    <a:pt x="525" y="281"/>
                  </a:cubicBezTo>
                  <a:cubicBezTo>
                    <a:pt x="524" y="286"/>
                    <a:pt x="524" y="292"/>
                    <a:pt x="524" y="298"/>
                  </a:cubicBezTo>
                  <a:cubicBezTo>
                    <a:pt x="510" y="300"/>
                    <a:pt x="497" y="302"/>
                    <a:pt x="483" y="303"/>
                  </a:cubicBezTo>
                  <a:close/>
                  <a:moveTo>
                    <a:pt x="464" y="393"/>
                  </a:moveTo>
                  <a:cubicBezTo>
                    <a:pt x="463" y="407"/>
                    <a:pt x="471" y="415"/>
                    <a:pt x="482" y="417"/>
                  </a:cubicBezTo>
                  <a:cubicBezTo>
                    <a:pt x="492" y="419"/>
                    <a:pt x="503" y="416"/>
                    <a:pt x="514" y="408"/>
                  </a:cubicBezTo>
                  <a:cubicBezTo>
                    <a:pt x="525" y="400"/>
                    <a:pt x="528" y="399"/>
                    <a:pt x="535" y="391"/>
                  </a:cubicBezTo>
                  <a:cubicBezTo>
                    <a:pt x="546" y="378"/>
                    <a:pt x="555" y="369"/>
                    <a:pt x="562" y="363"/>
                  </a:cubicBezTo>
                  <a:cubicBezTo>
                    <a:pt x="564" y="362"/>
                    <a:pt x="566" y="361"/>
                    <a:pt x="569" y="360"/>
                  </a:cubicBezTo>
                  <a:cubicBezTo>
                    <a:pt x="570" y="371"/>
                    <a:pt x="592" y="394"/>
                    <a:pt x="601" y="386"/>
                  </a:cubicBezTo>
                  <a:cubicBezTo>
                    <a:pt x="605" y="382"/>
                    <a:pt x="600" y="376"/>
                    <a:pt x="598" y="374"/>
                  </a:cubicBezTo>
                  <a:cubicBezTo>
                    <a:pt x="595" y="371"/>
                    <a:pt x="597" y="356"/>
                    <a:pt x="600" y="354"/>
                  </a:cubicBezTo>
                  <a:cubicBezTo>
                    <a:pt x="616" y="354"/>
                    <a:pt x="627" y="343"/>
                    <a:pt x="628" y="328"/>
                  </a:cubicBezTo>
                  <a:cubicBezTo>
                    <a:pt x="631" y="331"/>
                    <a:pt x="634" y="335"/>
                    <a:pt x="637" y="338"/>
                  </a:cubicBezTo>
                  <a:cubicBezTo>
                    <a:pt x="640" y="342"/>
                    <a:pt x="647" y="344"/>
                    <a:pt x="652" y="345"/>
                  </a:cubicBezTo>
                  <a:cubicBezTo>
                    <a:pt x="661" y="348"/>
                    <a:pt x="672" y="346"/>
                    <a:pt x="676" y="337"/>
                  </a:cubicBezTo>
                  <a:cubicBezTo>
                    <a:pt x="673" y="337"/>
                    <a:pt x="668" y="335"/>
                    <a:pt x="665" y="332"/>
                  </a:cubicBezTo>
                  <a:cubicBezTo>
                    <a:pt x="661" y="328"/>
                    <a:pt x="659" y="325"/>
                    <a:pt x="658" y="315"/>
                  </a:cubicBezTo>
                  <a:cubicBezTo>
                    <a:pt x="657" y="306"/>
                    <a:pt x="655" y="297"/>
                    <a:pt x="657" y="294"/>
                  </a:cubicBezTo>
                  <a:cubicBezTo>
                    <a:pt x="661" y="289"/>
                    <a:pt x="660" y="282"/>
                    <a:pt x="660" y="279"/>
                  </a:cubicBezTo>
                  <a:cubicBezTo>
                    <a:pt x="660" y="268"/>
                    <a:pt x="655" y="263"/>
                    <a:pt x="653" y="259"/>
                  </a:cubicBezTo>
                  <a:cubicBezTo>
                    <a:pt x="660" y="259"/>
                    <a:pt x="667" y="251"/>
                    <a:pt x="670" y="247"/>
                  </a:cubicBezTo>
                  <a:cubicBezTo>
                    <a:pt x="676" y="240"/>
                    <a:pt x="673" y="222"/>
                    <a:pt x="669" y="227"/>
                  </a:cubicBezTo>
                  <a:cubicBezTo>
                    <a:pt x="659" y="237"/>
                    <a:pt x="658" y="234"/>
                    <a:pt x="650" y="227"/>
                  </a:cubicBezTo>
                  <a:cubicBezTo>
                    <a:pt x="636" y="217"/>
                    <a:pt x="628" y="213"/>
                    <a:pt x="601" y="213"/>
                  </a:cubicBezTo>
                  <a:cubicBezTo>
                    <a:pt x="600" y="214"/>
                    <a:pt x="600" y="214"/>
                    <a:pt x="600" y="214"/>
                  </a:cubicBezTo>
                  <a:cubicBezTo>
                    <a:pt x="599" y="222"/>
                    <a:pt x="621" y="222"/>
                    <a:pt x="632" y="230"/>
                  </a:cubicBezTo>
                  <a:cubicBezTo>
                    <a:pt x="642" y="237"/>
                    <a:pt x="649" y="241"/>
                    <a:pt x="664" y="242"/>
                  </a:cubicBezTo>
                  <a:cubicBezTo>
                    <a:pt x="662" y="249"/>
                    <a:pt x="647" y="255"/>
                    <a:pt x="638" y="248"/>
                  </a:cubicBezTo>
                  <a:cubicBezTo>
                    <a:pt x="627" y="239"/>
                    <a:pt x="616" y="241"/>
                    <a:pt x="609" y="246"/>
                  </a:cubicBezTo>
                  <a:cubicBezTo>
                    <a:pt x="610" y="246"/>
                    <a:pt x="610" y="246"/>
                    <a:pt x="610" y="246"/>
                  </a:cubicBezTo>
                  <a:cubicBezTo>
                    <a:pt x="618" y="248"/>
                    <a:pt x="637" y="257"/>
                    <a:pt x="643" y="262"/>
                  </a:cubicBezTo>
                  <a:cubicBezTo>
                    <a:pt x="646" y="265"/>
                    <a:pt x="648" y="269"/>
                    <a:pt x="650" y="272"/>
                  </a:cubicBezTo>
                  <a:cubicBezTo>
                    <a:pt x="653" y="274"/>
                    <a:pt x="654" y="286"/>
                    <a:pt x="651" y="284"/>
                  </a:cubicBezTo>
                  <a:cubicBezTo>
                    <a:pt x="650" y="284"/>
                    <a:pt x="647" y="279"/>
                    <a:pt x="646" y="278"/>
                  </a:cubicBezTo>
                  <a:cubicBezTo>
                    <a:pt x="642" y="274"/>
                    <a:pt x="638" y="271"/>
                    <a:pt x="633" y="269"/>
                  </a:cubicBezTo>
                  <a:cubicBezTo>
                    <a:pt x="628" y="267"/>
                    <a:pt x="616" y="265"/>
                    <a:pt x="615" y="271"/>
                  </a:cubicBezTo>
                  <a:cubicBezTo>
                    <a:pt x="624" y="273"/>
                    <a:pt x="630" y="275"/>
                    <a:pt x="636" y="281"/>
                  </a:cubicBezTo>
                  <a:cubicBezTo>
                    <a:pt x="639" y="284"/>
                    <a:pt x="641" y="285"/>
                    <a:pt x="645" y="290"/>
                  </a:cubicBezTo>
                  <a:cubicBezTo>
                    <a:pt x="648" y="293"/>
                    <a:pt x="648" y="299"/>
                    <a:pt x="649" y="305"/>
                  </a:cubicBezTo>
                  <a:cubicBezTo>
                    <a:pt x="649" y="311"/>
                    <a:pt x="648" y="317"/>
                    <a:pt x="649" y="320"/>
                  </a:cubicBezTo>
                  <a:cubicBezTo>
                    <a:pt x="650" y="324"/>
                    <a:pt x="654" y="335"/>
                    <a:pt x="655" y="337"/>
                  </a:cubicBezTo>
                  <a:cubicBezTo>
                    <a:pt x="638" y="337"/>
                    <a:pt x="624" y="295"/>
                    <a:pt x="610" y="302"/>
                  </a:cubicBezTo>
                  <a:cubicBezTo>
                    <a:pt x="610" y="303"/>
                    <a:pt x="618" y="317"/>
                    <a:pt x="619" y="320"/>
                  </a:cubicBezTo>
                  <a:cubicBezTo>
                    <a:pt x="621" y="327"/>
                    <a:pt x="621" y="337"/>
                    <a:pt x="617" y="341"/>
                  </a:cubicBezTo>
                  <a:cubicBezTo>
                    <a:pt x="614" y="343"/>
                    <a:pt x="607" y="347"/>
                    <a:pt x="604" y="345"/>
                  </a:cubicBezTo>
                  <a:cubicBezTo>
                    <a:pt x="604" y="337"/>
                    <a:pt x="609" y="325"/>
                    <a:pt x="607" y="321"/>
                  </a:cubicBezTo>
                  <a:cubicBezTo>
                    <a:pt x="606" y="320"/>
                    <a:pt x="600" y="318"/>
                    <a:pt x="600" y="322"/>
                  </a:cubicBezTo>
                  <a:cubicBezTo>
                    <a:pt x="600" y="337"/>
                    <a:pt x="597" y="343"/>
                    <a:pt x="592" y="353"/>
                  </a:cubicBezTo>
                  <a:cubicBezTo>
                    <a:pt x="590" y="356"/>
                    <a:pt x="590" y="372"/>
                    <a:pt x="588" y="372"/>
                  </a:cubicBezTo>
                  <a:cubicBezTo>
                    <a:pt x="581" y="374"/>
                    <a:pt x="576" y="356"/>
                    <a:pt x="576" y="349"/>
                  </a:cubicBezTo>
                  <a:cubicBezTo>
                    <a:pt x="576" y="346"/>
                    <a:pt x="581" y="334"/>
                    <a:pt x="576" y="333"/>
                  </a:cubicBezTo>
                  <a:cubicBezTo>
                    <a:pt x="572" y="334"/>
                    <a:pt x="571" y="342"/>
                    <a:pt x="568" y="346"/>
                  </a:cubicBezTo>
                  <a:cubicBezTo>
                    <a:pt x="565" y="348"/>
                    <a:pt x="558" y="352"/>
                    <a:pt x="555" y="354"/>
                  </a:cubicBezTo>
                  <a:cubicBezTo>
                    <a:pt x="537" y="363"/>
                    <a:pt x="557" y="342"/>
                    <a:pt x="559" y="338"/>
                  </a:cubicBezTo>
                  <a:cubicBezTo>
                    <a:pt x="560" y="336"/>
                    <a:pt x="563" y="331"/>
                    <a:pt x="557" y="332"/>
                  </a:cubicBezTo>
                  <a:cubicBezTo>
                    <a:pt x="557" y="332"/>
                    <a:pt x="551" y="338"/>
                    <a:pt x="550" y="339"/>
                  </a:cubicBezTo>
                  <a:cubicBezTo>
                    <a:pt x="548" y="341"/>
                    <a:pt x="543" y="347"/>
                    <a:pt x="541" y="348"/>
                  </a:cubicBezTo>
                  <a:cubicBezTo>
                    <a:pt x="538" y="350"/>
                    <a:pt x="527" y="355"/>
                    <a:pt x="533" y="344"/>
                  </a:cubicBezTo>
                  <a:cubicBezTo>
                    <a:pt x="534" y="343"/>
                    <a:pt x="540" y="334"/>
                    <a:pt x="535" y="334"/>
                  </a:cubicBezTo>
                  <a:cubicBezTo>
                    <a:pt x="535" y="334"/>
                    <a:pt x="531" y="338"/>
                    <a:pt x="530" y="338"/>
                  </a:cubicBezTo>
                  <a:cubicBezTo>
                    <a:pt x="529" y="339"/>
                    <a:pt x="525" y="343"/>
                    <a:pt x="524" y="344"/>
                  </a:cubicBezTo>
                  <a:cubicBezTo>
                    <a:pt x="521" y="347"/>
                    <a:pt x="508" y="355"/>
                    <a:pt x="505" y="355"/>
                  </a:cubicBezTo>
                  <a:cubicBezTo>
                    <a:pt x="504" y="355"/>
                    <a:pt x="507" y="349"/>
                    <a:pt x="507" y="349"/>
                  </a:cubicBezTo>
                  <a:cubicBezTo>
                    <a:pt x="511" y="339"/>
                    <a:pt x="514" y="327"/>
                    <a:pt x="520" y="319"/>
                  </a:cubicBezTo>
                  <a:cubicBezTo>
                    <a:pt x="529" y="309"/>
                    <a:pt x="532" y="311"/>
                    <a:pt x="546" y="311"/>
                  </a:cubicBezTo>
                  <a:cubicBezTo>
                    <a:pt x="555" y="311"/>
                    <a:pt x="563" y="311"/>
                    <a:pt x="571" y="311"/>
                  </a:cubicBezTo>
                  <a:cubicBezTo>
                    <a:pt x="577" y="311"/>
                    <a:pt x="586" y="305"/>
                    <a:pt x="588" y="296"/>
                  </a:cubicBezTo>
                  <a:cubicBezTo>
                    <a:pt x="590" y="292"/>
                    <a:pt x="589" y="287"/>
                    <a:pt x="590" y="282"/>
                  </a:cubicBezTo>
                  <a:cubicBezTo>
                    <a:pt x="590" y="276"/>
                    <a:pt x="588" y="275"/>
                    <a:pt x="587" y="274"/>
                  </a:cubicBezTo>
                  <a:cubicBezTo>
                    <a:pt x="580" y="270"/>
                    <a:pt x="585" y="252"/>
                    <a:pt x="579" y="243"/>
                  </a:cubicBezTo>
                  <a:cubicBezTo>
                    <a:pt x="578" y="241"/>
                    <a:pt x="574" y="236"/>
                    <a:pt x="569" y="233"/>
                  </a:cubicBezTo>
                  <a:cubicBezTo>
                    <a:pt x="565" y="230"/>
                    <a:pt x="559" y="229"/>
                    <a:pt x="555" y="228"/>
                  </a:cubicBezTo>
                  <a:cubicBezTo>
                    <a:pt x="548" y="226"/>
                    <a:pt x="540" y="228"/>
                    <a:pt x="532" y="231"/>
                  </a:cubicBezTo>
                  <a:cubicBezTo>
                    <a:pt x="514" y="239"/>
                    <a:pt x="496" y="241"/>
                    <a:pt x="489" y="240"/>
                  </a:cubicBezTo>
                  <a:cubicBezTo>
                    <a:pt x="480" y="239"/>
                    <a:pt x="477" y="233"/>
                    <a:pt x="474" y="223"/>
                  </a:cubicBezTo>
                  <a:cubicBezTo>
                    <a:pt x="472" y="215"/>
                    <a:pt x="479" y="214"/>
                    <a:pt x="484" y="208"/>
                  </a:cubicBezTo>
                  <a:cubicBezTo>
                    <a:pt x="488" y="203"/>
                    <a:pt x="478" y="206"/>
                    <a:pt x="474" y="208"/>
                  </a:cubicBezTo>
                  <a:cubicBezTo>
                    <a:pt x="471" y="209"/>
                    <a:pt x="470" y="209"/>
                    <a:pt x="468" y="207"/>
                  </a:cubicBezTo>
                  <a:cubicBezTo>
                    <a:pt x="462" y="203"/>
                    <a:pt x="472" y="198"/>
                    <a:pt x="477" y="193"/>
                  </a:cubicBezTo>
                  <a:cubicBezTo>
                    <a:pt x="479" y="191"/>
                    <a:pt x="487" y="186"/>
                    <a:pt x="496" y="182"/>
                  </a:cubicBezTo>
                  <a:cubicBezTo>
                    <a:pt x="503" y="179"/>
                    <a:pt x="508" y="177"/>
                    <a:pt x="511" y="175"/>
                  </a:cubicBezTo>
                  <a:cubicBezTo>
                    <a:pt x="516" y="172"/>
                    <a:pt x="521" y="169"/>
                    <a:pt x="522" y="168"/>
                  </a:cubicBezTo>
                  <a:cubicBezTo>
                    <a:pt x="526" y="165"/>
                    <a:pt x="531" y="156"/>
                    <a:pt x="532" y="154"/>
                  </a:cubicBezTo>
                  <a:cubicBezTo>
                    <a:pt x="537" y="148"/>
                    <a:pt x="548" y="143"/>
                    <a:pt x="554" y="140"/>
                  </a:cubicBezTo>
                  <a:cubicBezTo>
                    <a:pt x="725" y="140"/>
                    <a:pt x="725" y="140"/>
                    <a:pt x="725" y="140"/>
                  </a:cubicBezTo>
                  <a:cubicBezTo>
                    <a:pt x="726" y="140"/>
                    <a:pt x="726" y="140"/>
                    <a:pt x="727" y="140"/>
                  </a:cubicBezTo>
                  <a:cubicBezTo>
                    <a:pt x="720" y="145"/>
                    <a:pt x="715" y="150"/>
                    <a:pt x="711" y="155"/>
                  </a:cubicBezTo>
                  <a:cubicBezTo>
                    <a:pt x="709" y="153"/>
                    <a:pt x="704" y="146"/>
                    <a:pt x="703" y="146"/>
                  </a:cubicBezTo>
                  <a:cubicBezTo>
                    <a:pt x="701" y="146"/>
                    <a:pt x="700" y="147"/>
                    <a:pt x="699" y="147"/>
                  </a:cubicBezTo>
                  <a:cubicBezTo>
                    <a:pt x="698" y="148"/>
                    <a:pt x="704" y="154"/>
                    <a:pt x="706" y="158"/>
                  </a:cubicBezTo>
                  <a:cubicBezTo>
                    <a:pt x="708" y="163"/>
                    <a:pt x="711" y="168"/>
                    <a:pt x="715" y="165"/>
                  </a:cubicBezTo>
                  <a:cubicBezTo>
                    <a:pt x="719" y="161"/>
                    <a:pt x="724" y="155"/>
                    <a:pt x="730" y="150"/>
                  </a:cubicBezTo>
                  <a:cubicBezTo>
                    <a:pt x="734" y="147"/>
                    <a:pt x="739" y="144"/>
                    <a:pt x="744" y="142"/>
                  </a:cubicBezTo>
                  <a:cubicBezTo>
                    <a:pt x="748" y="141"/>
                    <a:pt x="751" y="139"/>
                    <a:pt x="756" y="138"/>
                  </a:cubicBezTo>
                  <a:cubicBezTo>
                    <a:pt x="776" y="134"/>
                    <a:pt x="766" y="145"/>
                    <a:pt x="771" y="155"/>
                  </a:cubicBezTo>
                  <a:cubicBezTo>
                    <a:pt x="780" y="175"/>
                    <a:pt x="773" y="196"/>
                    <a:pt x="766" y="207"/>
                  </a:cubicBezTo>
                  <a:cubicBezTo>
                    <a:pt x="759" y="218"/>
                    <a:pt x="739" y="223"/>
                    <a:pt x="735" y="223"/>
                  </a:cubicBezTo>
                  <a:cubicBezTo>
                    <a:pt x="726" y="221"/>
                    <a:pt x="727" y="224"/>
                    <a:pt x="724" y="218"/>
                  </a:cubicBezTo>
                  <a:cubicBezTo>
                    <a:pt x="722" y="216"/>
                    <a:pt x="719" y="213"/>
                    <a:pt x="717" y="210"/>
                  </a:cubicBezTo>
                  <a:cubicBezTo>
                    <a:pt x="715" y="207"/>
                    <a:pt x="713" y="208"/>
                    <a:pt x="711" y="212"/>
                  </a:cubicBezTo>
                  <a:cubicBezTo>
                    <a:pt x="710" y="215"/>
                    <a:pt x="718" y="222"/>
                    <a:pt x="720" y="227"/>
                  </a:cubicBezTo>
                  <a:cubicBezTo>
                    <a:pt x="722" y="230"/>
                    <a:pt x="724" y="233"/>
                    <a:pt x="726" y="237"/>
                  </a:cubicBezTo>
                  <a:cubicBezTo>
                    <a:pt x="726" y="237"/>
                    <a:pt x="729" y="245"/>
                    <a:pt x="729" y="245"/>
                  </a:cubicBezTo>
                  <a:cubicBezTo>
                    <a:pt x="738" y="262"/>
                    <a:pt x="738" y="296"/>
                    <a:pt x="730" y="313"/>
                  </a:cubicBezTo>
                  <a:cubicBezTo>
                    <a:pt x="729" y="314"/>
                    <a:pt x="728" y="315"/>
                    <a:pt x="728" y="315"/>
                  </a:cubicBezTo>
                  <a:cubicBezTo>
                    <a:pt x="725" y="305"/>
                    <a:pt x="719" y="291"/>
                    <a:pt x="717" y="285"/>
                  </a:cubicBezTo>
                  <a:cubicBezTo>
                    <a:pt x="715" y="280"/>
                    <a:pt x="711" y="273"/>
                    <a:pt x="707" y="267"/>
                  </a:cubicBezTo>
                  <a:cubicBezTo>
                    <a:pt x="702" y="261"/>
                    <a:pt x="697" y="257"/>
                    <a:pt x="692" y="255"/>
                  </a:cubicBezTo>
                  <a:cubicBezTo>
                    <a:pt x="691" y="256"/>
                    <a:pt x="691" y="258"/>
                    <a:pt x="692" y="259"/>
                  </a:cubicBezTo>
                  <a:cubicBezTo>
                    <a:pt x="694" y="262"/>
                    <a:pt x="698" y="266"/>
                    <a:pt x="700" y="269"/>
                  </a:cubicBezTo>
                  <a:cubicBezTo>
                    <a:pt x="704" y="276"/>
                    <a:pt x="708" y="284"/>
                    <a:pt x="710" y="288"/>
                  </a:cubicBezTo>
                  <a:cubicBezTo>
                    <a:pt x="714" y="295"/>
                    <a:pt x="720" y="322"/>
                    <a:pt x="725" y="328"/>
                  </a:cubicBezTo>
                  <a:cubicBezTo>
                    <a:pt x="726" y="330"/>
                    <a:pt x="734" y="338"/>
                    <a:pt x="736" y="340"/>
                  </a:cubicBezTo>
                  <a:cubicBezTo>
                    <a:pt x="741" y="342"/>
                    <a:pt x="749" y="345"/>
                    <a:pt x="756" y="344"/>
                  </a:cubicBezTo>
                  <a:cubicBezTo>
                    <a:pt x="745" y="353"/>
                    <a:pt x="716" y="349"/>
                    <a:pt x="709" y="345"/>
                  </a:cubicBezTo>
                  <a:cubicBezTo>
                    <a:pt x="699" y="338"/>
                    <a:pt x="684" y="323"/>
                    <a:pt x="684" y="317"/>
                  </a:cubicBezTo>
                  <a:cubicBezTo>
                    <a:pt x="673" y="316"/>
                    <a:pt x="688" y="339"/>
                    <a:pt x="691" y="344"/>
                  </a:cubicBezTo>
                  <a:cubicBezTo>
                    <a:pt x="695" y="349"/>
                    <a:pt x="700" y="354"/>
                    <a:pt x="702" y="360"/>
                  </a:cubicBezTo>
                  <a:cubicBezTo>
                    <a:pt x="703" y="364"/>
                    <a:pt x="703" y="367"/>
                    <a:pt x="703" y="376"/>
                  </a:cubicBezTo>
                  <a:cubicBezTo>
                    <a:pt x="695" y="401"/>
                    <a:pt x="693" y="403"/>
                    <a:pt x="687" y="414"/>
                  </a:cubicBezTo>
                  <a:cubicBezTo>
                    <a:pt x="685" y="418"/>
                    <a:pt x="681" y="423"/>
                    <a:pt x="679" y="426"/>
                  </a:cubicBezTo>
                  <a:cubicBezTo>
                    <a:pt x="679" y="426"/>
                    <a:pt x="678" y="427"/>
                    <a:pt x="678" y="426"/>
                  </a:cubicBezTo>
                  <a:cubicBezTo>
                    <a:pt x="677" y="410"/>
                    <a:pt x="677" y="410"/>
                    <a:pt x="677" y="410"/>
                  </a:cubicBezTo>
                  <a:cubicBezTo>
                    <a:pt x="677" y="402"/>
                    <a:pt x="672" y="384"/>
                    <a:pt x="667" y="376"/>
                  </a:cubicBezTo>
                  <a:cubicBezTo>
                    <a:pt x="665" y="371"/>
                    <a:pt x="660" y="367"/>
                    <a:pt x="657" y="362"/>
                  </a:cubicBezTo>
                  <a:cubicBezTo>
                    <a:pt x="655" y="359"/>
                    <a:pt x="645" y="354"/>
                    <a:pt x="645" y="352"/>
                  </a:cubicBezTo>
                  <a:cubicBezTo>
                    <a:pt x="640" y="353"/>
                    <a:pt x="649" y="364"/>
                    <a:pt x="655" y="375"/>
                  </a:cubicBezTo>
                  <a:cubicBezTo>
                    <a:pt x="657" y="379"/>
                    <a:pt x="660" y="382"/>
                    <a:pt x="662" y="390"/>
                  </a:cubicBezTo>
                  <a:cubicBezTo>
                    <a:pt x="664" y="395"/>
                    <a:pt x="667" y="401"/>
                    <a:pt x="668" y="414"/>
                  </a:cubicBezTo>
                  <a:cubicBezTo>
                    <a:pt x="669" y="416"/>
                    <a:pt x="669" y="422"/>
                    <a:pt x="669" y="425"/>
                  </a:cubicBezTo>
                  <a:cubicBezTo>
                    <a:pt x="668" y="437"/>
                    <a:pt x="665" y="442"/>
                    <a:pt x="659" y="453"/>
                  </a:cubicBezTo>
                  <a:cubicBezTo>
                    <a:pt x="654" y="462"/>
                    <a:pt x="651" y="469"/>
                    <a:pt x="644" y="481"/>
                  </a:cubicBezTo>
                  <a:cubicBezTo>
                    <a:pt x="642" y="481"/>
                    <a:pt x="638" y="466"/>
                    <a:pt x="637" y="464"/>
                  </a:cubicBezTo>
                  <a:cubicBezTo>
                    <a:pt x="633" y="453"/>
                    <a:pt x="629" y="441"/>
                    <a:pt x="621" y="434"/>
                  </a:cubicBezTo>
                  <a:cubicBezTo>
                    <a:pt x="617" y="430"/>
                    <a:pt x="611" y="422"/>
                    <a:pt x="607" y="416"/>
                  </a:cubicBezTo>
                  <a:cubicBezTo>
                    <a:pt x="606" y="414"/>
                    <a:pt x="603" y="411"/>
                    <a:pt x="602" y="409"/>
                  </a:cubicBezTo>
                  <a:cubicBezTo>
                    <a:pt x="602" y="407"/>
                    <a:pt x="602" y="405"/>
                    <a:pt x="601" y="403"/>
                  </a:cubicBezTo>
                  <a:cubicBezTo>
                    <a:pt x="588" y="407"/>
                    <a:pt x="617" y="446"/>
                    <a:pt x="622" y="453"/>
                  </a:cubicBezTo>
                  <a:cubicBezTo>
                    <a:pt x="623" y="455"/>
                    <a:pt x="627" y="462"/>
                    <a:pt x="629" y="471"/>
                  </a:cubicBezTo>
                  <a:cubicBezTo>
                    <a:pt x="635" y="491"/>
                    <a:pt x="635" y="493"/>
                    <a:pt x="648" y="518"/>
                  </a:cubicBezTo>
                  <a:cubicBezTo>
                    <a:pt x="649" y="521"/>
                    <a:pt x="654" y="526"/>
                    <a:pt x="664" y="529"/>
                  </a:cubicBezTo>
                  <a:cubicBezTo>
                    <a:pt x="670" y="532"/>
                    <a:pt x="675" y="531"/>
                    <a:pt x="665" y="539"/>
                  </a:cubicBezTo>
                  <a:cubicBezTo>
                    <a:pt x="658" y="544"/>
                    <a:pt x="641" y="547"/>
                    <a:pt x="634" y="545"/>
                  </a:cubicBezTo>
                  <a:cubicBezTo>
                    <a:pt x="629" y="544"/>
                    <a:pt x="618" y="545"/>
                    <a:pt x="608" y="537"/>
                  </a:cubicBezTo>
                  <a:cubicBezTo>
                    <a:pt x="594" y="528"/>
                    <a:pt x="586" y="511"/>
                    <a:pt x="576" y="499"/>
                  </a:cubicBezTo>
                  <a:cubicBezTo>
                    <a:pt x="570" y="492"/>
                    <a:pt x="555" y="473"/>
                    <a:pt x="546" y="473"/>
                  </a:cubicBezTo>
                  <a:cubicBezTo>
                    <a:pt x="538" y="473"/>
                    <a:pt x="557" y="489"/>
                    <a:pt x="559" y="491"/>
                  </a:cubicBezTo>
                  <a:cubicBezTo>
                    <a:pt x="572" y="505"/>
                    <a:pt x="584" y="541"/>
                    <a:pt x="609" y="548"/>
                  </a:cubicBezTo>
                  <a:cubicBezTo>
                    <a:pt x="612" y="549"/>
                    <a:pt x="613" y="549"/>
                    <a:pt x="615" y="550"/>
                  </a:cubicBezTo>
                  <a:cubicBezTo>
                    <a:pt x="617" y="551"/>
                    <a:pt x="615" y="554"/>
                    <a:pt x="613" y="559"/>
                  </a:cubicBezTo>
                  <a:cubicBezTo>
                    <a:pt x="609" y="570"/>
                    <a:pt x="609" y="577"/>
                    <a:pt x="598" y="596"/>
                  </a:cubicBezTo>
                  <a:cubicBezTo>
                    <a:pt x="595" y="601"/>
                    <a:pt x="589" y="607"/>
                    <a:pt x="585" y="611"/>
                  </a:cubicBezTo>
                  <a:cubicBezTo>
                    <a:pt x="577" y="617"/>
                    <a:pt x="568" y="626"/>
                    <a:pt x="559" y="631"/>
                  </a:cubicBezTo>
                  <a:cubicBezTo>
                    <a:pt x="556" y="632"/>
                    <a:pt x="551" y="633"/>
                    <a:pt x="548" y="633"/>
                  </a:cubicBezTo>
                  <a:cubicBezTo>
                    <a:pt x="542" y="634"/>
                    <a:pt x="547" y="632"/>
                    <a:pt x="549" y="626"/>
                  </a:cubicBezTo>
                  <a:cubicBezTo>
                    <a:pt x="557" y="602"/>
                    <a:pt x="554" y="609"/>
                    <a:pt x="558" y="599"/>
                  </a:cubicBezTo>
                  <a:cubicBezTo>
                    <a:pt x="560" y="595"/>
                    <a:pt x="574" y="569"/>
                    <a:pt x="568" y="566"/>
                  </a:cubicBezTo>
                  <a:cubicBezTo>
                    <a:pt x="549" y="583"/>
                    <a:pt x="548" y="610"/>
                    <a:pt x="537" y="624"/>
                  </a:cubicBezTo>
                  <a:cubicBezTo>
                    <a:pt x="531" y="631"/>
                    <a:pt x="505" y="656"/>
                    <a:pt x="498" y="658"/>
                  </a:cubicBezTo>
                  <a:cubicBezTo>
                    <a:pt x="489" y="661"/>
                    <a:pt x="493" y="657"/>
                    <a:pt x="497" y="648"/>
                  </a:cubicBezTo>
                  <a:cubicBezTo>
                    <a:pt x="503" y="634"/>
                    <a:pt x="505" y="604"/>
                    <a:pt x="507" y="586"/>
                  </a:cubicBezTo>
                  <a:cubicBezTo>
                    <a:pt x="512" y="546"/>
                    <a:pt x="534" y="539"/>
                    <a:pt x="534" y="521"/>
                  </a:cubicBezTo>
                  <a:cubicBezTo>
                    <a:pt x="527" y="517"/>
                    <a:pt x="502" y="558"/>
                    <a:pt x="495" y="564"/>
                  </a:cubicBezTo>
                  <a:cubicBezTo>
                    <a:pt x="493" y="565"/>
                    <a:pt x="480" y="576"/>
                    <a:pt x="469" y="581"/>
                  </a:cubicBezTo>
                  <a:cubicBezTo>
                    <a:pt x="465" y="582"/>
                    <a:pt x="444" y="588"/>
                    <a:pt x="436" y="588"/>
                  </a:cubicBezTo>
                  <a:cubicBezTo>
                    <a:pt x="432" y="588"/>
                    <a:pt x="405" y="586"/>
                    <a:pt x="412" y="585"/>
                  </a:cubicBezTo>
                  <a:cubicBezTo>
                    <a:pt x="428" y="578"/>
                    <a:pt x="439" y="568"/>
                    <a:pt x="451" y="556"/>
                  </a:cubicBezTo>
                  <a:cubicBezTo>
                    <a:pt x="459" y="547"/>
                    <a:pt x="469" y="538"/>
                    <a:pt x="479" y="530"/>
                  </a:cubicBezTo>
                  <a:cubicBezTo>
                    <a:pt x="480" y="529"/>
                    <a:pt x="481" y="528"/>
                    <a:pt x="481" y="527"/>
                  </a:cubicBezTo>
                  <a:cubicBezTo>
                    <a:pt x="482" y="526"/>
                    <a:pt x="482" y="521"/>
                    <a:pt x="481" y="521"/>
                  </a:cubicBezTo>
                  <a:cubicBezTo>
                    <a:pt x="467" y="529"/>
                    <a:pt x="450" y="543"/>
                    <a:pt x="434" y="557"/>
                  </a:cubicBezTo>
                  <a:cubicBezTo>
                    <a:pt x="425" y="564"/>
                    <a:pt x="417" y="571"/>
                    <a:pt x="401" y="577"/>
                  </a:cubicBezTo>
                  <a:cubicBezTo>
                    <a:pt x="391" y="580"/>
                    <a:pt x="383" y="585"/>
                    <a:pt x="374" y="586"/>
                  </a:cubicBezTo>
                  <a:cubicBezTo>
                    <a:pt x="368" y="586"/>
                    <a:pt x="376" y="580"/>
                    <a:pt x="378" y="578"/>
                  </a:cubicBezTo>
                  <a:cubicBezTo>
                    <a:pt x="382" y="574"/>
                    <a:pt x="386" y="568"/>
                    <a:pt x="390" y="561"/>
                  </a:cubicBezTo>
                  <a:cubicBezTo>
                    <a:pt x="392" y="558"/>
                    <a:pt x="394" y="555"/>
                    <a:pt x="396" y="551"/>
                  </a:cubicBezTo>
                  <a:cubicBezTo>
                    <a:pt x="398" y="548"/>
                    <a:pt x="400" y="545"/>
                    <a:pt x="402" y="542"/>
                  </a:cubicBezTo>
                  <a:cubicBezTo>
                    <a:pt x="410" y="530"/>
                    <a:pt x="420" y="513"/>
                    <a:pt x="432" y="498"/>
                  </a:cubicBezTo>
                  <a:cubicBezTo>
                    <a:pt x="440" y="488"/>
                    <a:pt x="452" y="475"/>
                    <a:pt x="462" y="469"/>
                  </a:cubicBezTo>
                  <a:cubicBezTo>
                    <a:pt x="480" y="470"/>
                    <a:pt x="490" y="465"/>
                    <a:pt x="499" y="460"/>
                  </a:cubicBezTo>
                  <a:cubicBezTo>
                    <a:pt x="502" y="459"/>
                    <a:pt x="522" y="441"/>
                    <a:pt x="519" y="441"/>
                  </a:cubicBezTo>
                  <a:cubicBezTo>
                    <a:pt x="506" y="442"/>
                    <a:pt x="494" y="455"/>
                    <a:pt x="482" y="457"/>
                  </a:cubicBezTo>
                  <a:cubicBezTo>
                    <a:pt x="476" y="459"/>
                    <a:pt x="465" y="460"/>
                    <a:pt x="459" y="458"/>
                  </a:cubicBezTo>
                  <a:cubicBezTo>
                    <a:pt x="455" y="457"/>
                    <a:pt x="452" y="454"/>
                    <a:pt x="448" y="450"/>
                  </a:cubicBezTo>
                  <a:cubicBezTo>
                    <a:pt x="439" y="440"/>
                    <a:pt x="444" y="417"/>
                    <a:pt x="450" y="407"/>
                  </a:cubicBezTo>
                  <a:cubicBezTo>
                    <a:pt x="453" y="403"/>
                    <a:pt x="463" y="392"/>
                    <a:pt x="464" y="393"/>
                  </a:cubicBezTo>
                  <a:close/>
                  <a:moveTo>
                    <a:pt x="262" y="107"/>
                  </a:moveTo>
                  <a:cubicBezTo>
                    <a:pt x="266" y="104"/>
                    <a:pt x="271" y="100"/>
                    <a:pt x="274" y="95"/>
                  </a:cubicBezTo>
                  <a:cubicBezTo>
                    <a:pt x="275" y="93"/>
                    <a:pt x="276" y="92"/>
                    <a:pt x="277" y="90"/>
                  </a:cubicBezTo>
                  <a:cubicBezTo>
                    <a:pt x="277" y="90"/>
                    <a:pt x="277" y="89"/>
                    <a:pt x="278" y="89"/>
                  </a:cubicBezTo>
                  <a:cubicBezTo>
                    <a:pt x="281" y="98"/>
                    <a:pt x="278" y="116"/>
                    <a:pt x="271" y="127"/>
                  </a:cubicBezTo>
                  <a:cubicBezTo>
                    <a:pt x="267" y="135"/>
                    <a:pt x="262" y="137"/>
                    <a:pt x="257" y="134"/>
                  </a:cubicBezTo>
                  <a:cubicBezTo>
                    <a:pt x="253" y="132"/>
                    <a:pt x="250" y="129"/>
                    <a:pt x="250" y="125"/>
                  </a:cubicBezTo>
                  <a:cubicBezTo>
                    <a:pt x="249" y="121"/>
                    <a:pt x="251" y="117"/>
                    <a:pt x="255" y="113"/>
                  </a:cubicBezTo>
                  <a:cubicBezTo>
                    <a:pt x="257" y="111"/>
                    <a:pt x="259" y="109"/>
                    <a:pt x="262" y="107"/>
                  </a:cubicBezTo>
                  <a:close/>
                  <a:moveTo>
                    <a:pt x="132" y="61"/>
                  </a:moveTo>
                  <a:cubicBezTo>
                    <a:pt x="133" y="61"/>
                    <a:pt x="133" y="61"/>
                    <a:pt x="133" y="61"/>
                  </a:cubicBezTo>
                  <a:cubicBezTo>
                    <a:pt x="141" y="62"/>
                    <a:pt x="153" y="68"/>
                    <a:pt x="159" y="74"/>
                  </a:cubicBezTo>
                  <a:cubicBezTo>
                    <a:pt x="167" y="82"/>
                    <a:pt x="171" y="90"/>
                    <a:pt x="169" y="95"/>
                  </a:cubicBezTo>
                  <a:cubicBezTo>
                    <a:pt x="169" y="99"/>
                    <a:pt x="165" y="102"/>
                    <a:pt x="159" y="104"/>
                  </a:cubicBezTo>
                  <a:cubicBezTo>
                    <a:pt x="156" y="106"/>
                    <a:pt x="152" y="105"/>
                    <a:pt x="148" y="103"/>
                  </a:cubicBezTo>
                  <a:cubicBezTo>
                    <a:pt x="145" y="100"/>
                    <a:pt x="142" y="97"/>
                    <a:pt x="142" y="94"/>
                  </a:cubicBezTo>
                  <a:cubicBezTo>
                    <a:pt x="141" y="81"/>
                    <a:pt x="134" y="69"/>
                    <a:pt x="129" y="61"/>
                  </a:cubicBezTo>
                  <a:cubicBezTo>
                    <a:pt x="130" y="61"/>
                    <a:pt x="131" y="61"/>
                    <a:pt x="132" y="61"/>
                  </a:cubicBezTo>
                  <a:close/>
                  <a:moveTo>
                    <a:pt x="63" y="184"/>
                  </a:moveTo>
                  <a:cubicBezTo>
                    <a:pt x="66" y="181"/>
                    <a:pt x="70" y="178"/>
                    <a:pt x="72" y="177"/>
                  </a:cubicBezTo>
                  <a:cubicBezTo>
                    <a:pt x="83" y="171"/>
                    <a:pt x="91" y="171"/>
                    <a:pt x="99" y="175"/>
                  </a:cubicBezTo>
                  <a:cubicBezTo>
                    <a:pt x="107" y="178"/>
                    <a:pt x="109" y="181"/>
                    <a:pt x="109" y="189"/>
                  </a:cubicBezTo>
                  <a:cubicBezTo>
                    <a:pt x="108" y="194"/>
                    <a:pt x="106" y="197"/>
                    <a:pt x="100" y="199"/>
                  </a:cubicBezTo>
                  <a:cubicBezTo>
                    <a:pt x="92" y="202"/>
                    <a:pt x="89" y="200"/>
                    <a:pt x="82" y="196"/>
                  </a:cubicBezTo>
                  <a:cubicBezTo>
                    <a:pt x="79" y="195"/>
                    <a:pt x="79" y="195"/>
                    <a:pt x="79" y="195"/>
                  </a:cubicBezTo>
                  <a:cubicBezTo>
                    <a:pt x="78" y="194"/>
                    <a:pt x="75" y="192"/>
                    <a:pt x="63" y="184"/>
                  </a:cubicBezTo>
                  <a:close/>
                  <a:moveTo>
                    <a:pt x="154" y="340"/>
                  </a:moveTo>
                  <a:cubicBezTo>
                    <a:pt x="147" y="339"/>
                    <a:pt x="140" y="336"/>
                    <a:pt x="135" y="334"/>
                  </a:cubicBezTo>
                  <a:cubicBezTo>
                    <a:pt x="136" y="333"/>
                    <a:pt x="138" y="333"/>
                    <a:pt x="139" y="332"/>
                  </a:cubicBezTo>
                  <a:cubicBezTo>
                    <a:pt x="146" y="329"/>
                    <a:pt x="152" y="323"/>
                    <a:pt x="155" y="318"/>
                  </a:cubicBezTo>
                  <a:cubicBezTo>
                    <a:pt x="156" y="317"/>
                    <a:pt x="158" y="316"/>
                    <a:pt x="161" y="315"/>
                  </a:cubicBezTo>
                  <a:cubicBezTo>
                    <a:pt x="163" y="314"/>
                    <a:pt x="167" y="314"/>
                    <a:pt x="169" y="314"/>
                  </a:cubicBezTo>
                  <a:cubicBezTo>
                    <a:pt x="173" y="315"/>
                    <a:pt x="175" y="316"/>
                    <a:pt x="176" y="317"/>
                  </a:cubicBezTo>
                  <a:cubicBezTo>
                    <a:pt x="178" y="320"/>
                    <a:pt x="178" y="321"/>
                    <a:pt x="178" y="323"/>
                  </a:cubicBezTo>
                  <a:cubicBezTo>
                    <a:pt x="178" y="330"/>
                    <a:pt x="176" y="334"/>
                    <a:pt x="172" y="337"/>
                  </a:cubicBezTo>
                  <a:cubicBezTo>
                    <a:pt x="168" y="340"/>
                    <a:pt x="162" y="341"/>
                    <a:pt x="154" y="340"/>
                  </a:cubicBezTo>
                  <a:close/>
                  <a:moveTo>
                    <a:pt x="344" y="545"/>
                  </a:moveTo>
                  <a:cubicBezTo>
                    <a:pt x="355" y="528"/>
                    <a:pt x="362" y="525"/>
                    <a:pt x="376" y="518"/>
                  </a:cubicBezTo>
                  <a:cubicBezTo>
                    <a:pt x="369" y="513"/>
                    <a:pt x="354" y="519"/>
                    <a:pt x="346" y="521"/>
                  </a:cubicBezTo>
                  <a:cubicBezTo>
                    <a:pt x="325" y="527"/>
                    <a:pt x="310" y="529"/>
                    <a:pt x="303" y="537"/>
                  </a:cubicBezTo>
                  <a:cubicBezTo>
                    <a:pt x="302" y="525"/>
                    <a:pt x="303" y="516"/>
                    <a:pt x="307" y="506"/>
                  </a:cubicBezTo>
                  <a:cubicBezTo>
                    <a:pt x="312" y="492"/>
                    <a:pt x="320" y="491"/>
                    <a:pt x="338" y="489"/>
                  </a:cubicBezTo>
                  <a:cubicBezTo>
                    <a:pt x="339" y="482"/>
                    <a:pt x="319" y="488"/>
                    <a:pt x="306" y="488"/>
                  </a:cubicBezTo>
                  <a:cubicBezTo>
                    <a:pt x="299" y="488"/>
                    <a:pt x="295" y="488"/>
                    <a:pt x="289" y="486"/>
                  </a:cubicBezTo>
                  <a:cubicBezTo>
                    <a:pt x="286" y="485"/>
                    <a:pt x="284" y="483"/>
                    <a:pt x="282" y="481"/>
                  </a:cubicBezTo>
                  <a:cubicBezTo>
                    <a:pt x="281" y="480"/>
                    <a:pt x="278" y="476"/>
                    <a:pt x="277" y="475"/>
                  </a:cubicBezTo>
                  <a:cubicBezTo>
                    <a:pt x="285" y="475"/>
                    <a:pt x="308" y="471"/>
                    <a:pt x="317" y="462"/>
                  </a:cubicBezTo>
                  <a:cubicBezTo>
                    <a:pt x="316" y="458"/>
                    <a:pt x="305" y="463"/>
                    <a:pt x="293" y="464"/>
                  </a:cubicBezTo>
                  <a:cubicBezTo>
                    <a:pt x="275" y="465"/>
                    <a:pt x="261" y="466"/>
                    <a:pt x="259" y="457"/>
                  </a:cubicBezTo>
                  <a:cubicBezTo>
                    <a:pt x="263" y="456"/>
                    <a:pt x="267" y="455"/>
                    <a:pt x="271" y="453"/>
                  </a:cubicBezTo>
                  <a:cubicBezTo>
                    <a:pt x="273" y="452"/>
                    <a:pt x="276" y="450"/>
                    <a:pt x="279" y="449"/>
                  </a:cubicBezTo>
                  <a:cubicBezTo>
                    <a:pt x="281" y="447"/>
                    <a:pt x="281" y="448"/>
                    <a:pt x="287" y="442"/>
                  </a:cubicBezTo>
                  <a:cubicBezTo>
                    <a:pt x="291" y="439"/>
                    <a:pt x="294" y="436"/>
                    <a:pt x="299" y="436"/>
                  </a:cubicBezTo>
                  <a:cubicBezTo>
                    <a:pt x="299" y="430"/>
                    <a:pt x="287" y="434"/>
                    <a:pt x="283" y="436"/>
                  </a:cubicBezTo>
                  <a:cubicBezTo>
                    <a:pt x="277" y="440"/>
                    <a:pt x="265" y="446"/>
                    <a:pt x="258" y="447"/>
                  </a:cubicBezTo>
                  <a:cubicBezTo>
                    <a:pt x="254" y="448"/>
                    <a:pt x="249" y="448"/>
                    <a:pt x="244" y="448"/>
                  </a:cubicBezTo>
                  <a:cubicBezTo>
                    <a:pt x="242" y="448"/>
                    <a:pt x="239" y="448"/>
                    <a:pt x="237" y="449"/>
                  </a:cubicBezTo>
                  <a:cubicBezTo>
                    <a:pt x="235" y="450"/>
                    <a:pt x="232" y="451"/>
                    <a:pt x="230" y="454"/>
                  </a:cubicBezTo>
                  <a:cubicBezTo>
                    <a:pt x="232" y="440"/>
                    <a:pt x="237" y="427"/>
                    <a:pt x="252" y="418"/>
                  </a:cubicBezTo>
                  <a:cubicBezTo>
                    <a:pt x="259" y="415"/>
                    <a:pt x="258" y="416"/>
                    <a:pt x="264" y="414"/>
                  </a:cubicBezTo>
                  <a:cubicBezTo>
                    <a:pt x="270" y="412"/>
                    <a:pt x="276" y="410"/>
                    <a:pt x="277" y="404"/>
                  </a:cubicBezTo>
                  <a:cubicBezTo>
                    <a:pt x="272" y="402"/>
                    <a:pt x="266" y="409"/>
                    <a:pt x="259" y="409"/>
                  </a:cubicBezTo>
                  <a:cubicBezTo>
                    <a:pt x="253" y="409"/>
                    <a:pt x="245" y="410"/>
                    <a:pt x="240" y="407"/>
                  </a:cubicBezTo>
                  <a:cubicBezTo>
                    <a:pt x="233" y="405"/>
                    <a:pt x="230" y="403"/>
                    <a:pt x="225" y="398"/>
                  </a:cubicBezTo>
                  <a:cubicBezTo>
                    <a:pt x="223" y="395"/>
                    <a:pt x="221" y="394"/>
                    <a:pt x="220" y="390"/>
                  </a:cubicBezTo>
                  <a:cubicBezTo>
                    <a:pt x="220" y="390"/>
                    <a:pt x="231" y="393"/>
                    <a:pt x="237" y="386"/>
                  </a:cubicBezTo>
                  <a:cubicBezTo>
                    <a:pt x="241" y="382"/>
                    <a:pt x="244" y="376"/>
                    <a:pt x="244" y="371"/>
                  </a:cubicBezTo>
                  <a:cubicBezTo>
                    <a:pt x="246" y="353"/>
                    <a:pt x="239" y="350"/>
                    <a:pt x="229" y="338"/>
                  </a:cubicBezTo>
                  <a:cubicBezTo>
                    <a:pt x="223" y="331"/>
                    <a:pt x="219" y="324"/>
                    <a:pt x="215" y="319"/>
                  </a:cubicBezTo>
                  <a:cubicBezTo>
                    <a:pt x="212" y="316"/>
                    <a:pt x="209" y="321"/>
                    <a:pt x="210" y="326"/>
                  </a:cubicBezTo>
                  <a:cubicBezTo>
                    <a:pt x="210" y="326"/>
                    <a:pt x="211" y="327"/>
                    <a:pt x="211" y="327"/>
                  </a:cubicBezTo>
                  <a:cubicBezTo>
                    <a:pt x="207" y="335"/>
                    <a:pt x="199" y="344"/>
                    <a:pt x="190" y="348"/>
                  </a:cubicBezTo>
                  <a:cubicBezTo>
                    <a:pt x="186" y="350"/>
                    <a:pt x="181" y="348"/>
                    <a:pt x="177" y="344"/>
                  </a:cubicBezTo>
                  <a:cubicBezTo>
                    <a:pt x="177" y="344"/>
                    <a:pt x="177" y="344"/>
                    <a:pt x="178" y="344"/>
                  </a:cubicBezTo>
                  <a:cubicBezTo>
                    <a:pt x="183" y="340"/>
                    <a:pt x="186" y="333"/>
                    <a:pt x="187" y="323"/>
                  </a:cubicBezTo>
                  <a:cubicBezTo>
                    <a:pt x="187" y="318"/>
                    <a:pt x="185" y="315"/>
                    <a:pt x="183" y="312"/>
                  </a:cubicBezTo>
                  <a:cubicBezTo>
                    <a:pt x="180" y="308"/>
                    <a:pt x="175" y="307"/>
                    <a:pt x="171" y="306"/>
                  </a:cubicBezTo>
                  <a:cubicBezTo>
                    <a:pt x="167" y="305"/>
                    <a:pt x="162" y="305"/>
                    <a:pt x="158" y="306"/>
                  </a:cubicBezTo>
                  <a:cubicBezTo>
                    <a:pt x="158" y="307"/>
                    <a:pt x="157" y="307"/>
                    <a:pt x="157" y="307"/>
                  </a:cubicBezTo>
                  <a:cubicBezTo>
                    <a:pt x="156" y="298"/>
                    <a:pt x="157" y="295"/>
                    <a:pt x="157" y="293"/>
                  </a:cubicBezTo>
                  <a:cubicBezTo>
                    <a:pt x="159" y="288"/>
                    <a:pt x="161" y="286"/>
                    <a:pt x="167" y="280"/>
                  </a:cubicBezTo>
                  <a:cubicBezTo>
                    <a:pt x="171" y="276"/>
                    <a:pt x="171" y="276"/>
                    <a:pt x="176" y="274"/>
                  </a:cubicBezTo>
                  <a:cubicBezTo>
                    <a:pt x="181" y="272"/>
                    <a:pt x="188" y="275"/>
                    <a:pt x="188" y="268"/>
                  </a:cubicBezTo>
                  <a:cubicBezTo>
                    <a:pt x="183" y="267"/>
                    <a:pt x="180" y="265"/>
                    <a:pt x="176" y="266"/>
                  </a:cubicBezTo>
                  <a:cubicBezTo>
                    <a:pt x="167" y="260"/>
                    <a:pt x="153" y="250"/>
                    <a:pt x="149" y="238"/>
                  </a:cubicBezTo>
                  <a:cubicBezTo>
                    <a:pt x="151" y="235"/>
                    <a:pt x="151" y="232"/>
                    <a:pt x="149" y="230"/>
                  </a:cubicBezTo>
                  <a:cubicBezTo>
                    <a:pt x="140" y="227"/>
                    <a:pt x="146" y="241"/>
                    <a:pt x="131" y="243"/>
                  </a:cubicBezTo>
                  <a:cubicBezTo>
                    <a:pt x="112" y="246"/>
                    <a:pt x="96" y="240"/>
                    <a:pt x="88" y="222"/>
                  </a:cubicBezTo>
                  <a:cubicBezTo>
                    <a:pt x="87" y="220"/>
                    <a:pt x="85" y="213"/>
                    <a:pt x="86" y="208"/>
                  </a:cubicBezTo>
                  <a:cubicBezTo>
                    <a:pt x="88" y="209"/>
                    <a:pt x="91" y="209"/>
                    <a:pt x="93" y="209"/>
                  </a:cubicBezTo>
                  <a:cubicBezTo>
                    <a:pt x="96" y="209"/>
                    <a:pt x="100" y="209"/>
                    <a:pt x="103" y="207"/>
                  </a:cubicBezTo>
                  <a:cubicBezTo>
                    <a:pt x="109" y="205"/>
                    <a:pt x="117" y="201"/>
                    <a:pt x="117" y="189"/>
                  </a:cubicBezTo>
                  <a:cubicBezTo>
                    <a:pt x="118" y="177"/>
                    <a:pt x="113" y="172"/>
                    <a:pt x="103" y="167"/>
                  </a:cubicBezTo>
                  <a:cubicBezTo>
                    <a:pt x="101" y="166"/>
                    <a:pt x="99" y="166"/>
                    <a:pt x="97" y="165"/>
                  </a:cubicBezTo>
                  <a:cubicBezTo>
                    <a:pt x="104" y="156"/>
                    <a:pt x="128" y="150"/>
                    <a:pt x="140" y="160"/>
                  </a:cubicBezTo>
                  <a:cubicBezTo>
                    <a:pt x="143" y="162"/>
                    <a:pt x="145" y="164"/>
                    <a:pt x="148" y="167"/>
                  </a:cubicBezTo>
                  <a:cubicBezTo>
                    <a:pt x="148" y="169"/>
                    <a:pt x="149" y="171"/>
                    <a:pt x="151" y="174"/>
                  </a:cubicBezTo>
                  <a:cubicBezTo>
                    <a:pt x="152" y="176"/>
                    <a:pt x="153" y="187"/>
                    <a:pt x="157" y="187"/>
                  </a:cubicBezTo>
                  <a:cubicBezTo>
                    <a:pt x="162" y="188"/>
                    <a:pt x="161" y="184"/>
                    <a:pt x="160" y="180"/>
                  </a:cubicBezTo>
                  <a:cubicBezTo>
                    <a:pt x="166" y="186"/>
                    <a:pt x="171" y="192"/>
                    <a:pt x="177" y="197"/>
                  </a:cubicBezTo>
                  <a:cubicBezTo>
                    <a:pt x="181" y="200"/>
                    <a:pt x="202" y="213"/>
                    <a:pt x="209" y="217"/>
                  </a:cubicBezTo>
                  <a:cubicBezTo>
                    <a:pt x="214" y="219"/>
                    <a:pt x="220" y="223"/>
                    <a:pt x="224" y="224"/>
                  </a:cubicBezTo>
                  <a:cubicBezTo>
                    <a:pt x="228" y="225"/>
                    <a:pt x="230" y="226"/>
                    <a:pt x="229" y="219"/>
                  </a:cubicBezTo>
                  <a:cubicBezTo>
                    <a:pt x="228" y="218"/>
                    <a:pt x="222" y="213"/>
                    <a:pt x="214" y="208"/>
                  </a:cubicBezTo>
                  <a:cubicBezTo>
                    <a:pt x="207" y="204"/>
                    <a:pt x="198" y="199"/>
                    <a:pt x="193" y="195"/>
                  </a:cubicBezTo>
                  <a:cubicBezTo>
                    <a:pt x="166" y="173"/>
                    <a:pt x="169" y="173"/>
                    <a:pt x="160" y="162"/>
                  </a:cubicBezTo>
                  <a:cubicBezTo>
                    <a:pt x="160" y="161"/>
                    <a:pt x="160" y="160"/>
                    <a:pt x="161" y="160"/>
                  </a:cubicBezTo>
                  <a:cubicBezTo>
                    <a:pt x="162" y="159"/>
                    <a:pt x="163" y="158"/>
                    <a:pt x="164" y="157"/>
                  </a:cubicBezTo>
                  <a:cubicBezTo>
                    <a:pt x="165" y="157"/>
                    <a:pt x="167" y="155"/>
                    <a:pt x="167" y="154"/>
                  </a:cubicBezTo>
                  <a:cubicBezTo>
                    <a:pt x="166" y="153"/>
                    <a:pt x="165" y="152"/>
                    <a:pt x="163" y="152"/>
                  </a:cubicBezTo>
                  <a:cubicBezTo>
                    <a:pt x="161" y="151"/>
                    <a:pt x="160" y="152"/>
                    <a:pt x="159" y="153"/>
                  </a:cubicBezTo>
                  <a:cubicBezTo>
                    <a:pt x="157" y="154"/>
                    <a:pt x="156" y="156"/>
                    <a:pt x="155" y="157"/>
                  </a:cubicBezTo>
                  <a:cubicBezTo>
                    <a:pt x="145" y="148"/>
                    <a:pt x="133" y="144"/>
                    <a:pt x="121" y="145"/>
                  </a:cubicBezTo>
                  <a:cubicBezTo>
                    <a:pt x="120" y="141"/>
                    <a:pt x="119" y="134"/>
                    <a:pt x="119" y="132"/>
                  </a:cubicBezTo>
                  <a:cubicBezTo>
                    <a:pt x="119" y="128"/>
                    <a:pt x="119" y="122"/>
                    <a:pt x="119" y="118"/>
                  </a:cubicBezTo>
                  <a:cubicBezTo>
                    <a:pt x="121" y="109"/>
                    <a:pt x="128" y="102"/>
                    <a:pt x="134" y="98"/>
                  </a:cubicBezTo>
                  <a:cubicBezTo>
                    <a:pt x="136" y="102"/>
                    <a:pt x="138" y="107"/>
                    <a:pt x="143" y="110"/>
                  </a:cubicBezTo>
                  <a:cubicBezTo>
                    <a:pt x="147" y="113"/>
                    <a:pt x="152" y="114"/>
                    <a:pt x="156" y="114"/>
                  </a:cubicBezTo>
                  <a:cubicBezTo>
                    <a:pt x="158" y="114"/>
                    <a:pt x="160" y="113"/>
                    <a:pt x="163" y="113"/>
                  </a:cubicBezTo>
                  <a:cubicBezTo>
                    <a:pt x="171" y="109"/>
                    <a:pt x="177" y="104"/>
                    <a:pt x="178" y="97"/>
                  </a:cubicBezTo>
                  <a:cubicBezTo>
                    <a:pt x="179" y="93"/>
                    <a:pt x="178" y="88"/>
                    <a:pt x="176" y="84"/>
                  </a:cubicBezTo>
                  <a:cubicBezTo>
                    <a:pt x="198" y="87"/>
                    <a:pt x="204" y="102"/>
                    <a:pt x="207" y="119"/>
                  </a:cubicBezTo>
                  <a:cubicBezTo>
                    <a:pt x="205" y="121"/>
                    <a:pt x="202" y="124"/>
                    <a:pt x="202" y="126"/>
                  </a:cubicBezTo>
                  <a:cubicBezTo>
                    <a:pt x="201" y="127"/>
                    <a:pt x="195" y="131"/>
                    <a:pt x="197" y="132"/>
                  </a:cubicBezTo>
                  <a:cubicBezTo>
                    <a:pt x="200" y="137"/>
                    <a:pt x="206" y="130"/>
                    <a:pt x="207" y="129"/>
                  </a:cubicBezTo>
                  <a:cubicBezTo>
                    <a:pt x="207" y="128"/>
                    <a:pt x="208" y="127"/>
                    <a:pt x="208" y="127"/>
                  </a:cubicBezTo>
                  <a:cubicBezTo>
                    <a:pt x="209" y="130"/>
                    <a:pt x="209" y="134"/>
                    <a:pt x="209" y="137"/>
                  </a:cubicBezTo>
                  <a:cubicBezTo>
                    <a:pt x="210" y="144"/>
                    <a:pt x="217" y="159"/>
                    <a:pt x="224" y="171"/>
                  </a:cubicBezTo>
                  <a:cubicBezTo>
                    <a:pt x="233" y="184"/>
                    <a:pt x="240" y="196"/>
                    <a:pt x="246" y="196"/>
                  </a:cubicBezTo>
                  <a:cubicBezTo>
                    <a:pt x="250" y="196"/>
                    <a:pt x="250" y="194"/>
                    <a:pt x="249" y="191"/>
                  </a:cubicBezTo>
                  <a:cubicBezTo>
                    <a:pt x="248" y="188"/>
                    <a:pt x="246" y="185"/>
                    <a:pt x="245" y="184"/>
                  </a:cubicBezTo>
                  <a:cubicBezTo>
                    <a:pt x="239" y="177"/>
                    <a:pt x="233" y="167"/>
                    <a:pt x="228" y="155"/>
                  </a:cubicBezTo>
                  <a:cubicBezTo>
                    <a:pt x="231" y="155"/>
                    <a:pt x="233" y="155"/>
                    <a:pt x="234" y="153"/>
                  </a:cubicBezTo>
                  <a:cubicBezTo>
                    <a:pt x="236" y="149"/>
                    <a:pt x="231" y="150"/>
                    <a:pt x="228" y="150"/>
                  </a:cubicBezTo>
                  <a:cubicBezTo>
                    <a:pt x="227" y="149"/>
                    <a:pt x="226" y="149"/>
                    <a:pt x="225" y="148"/>
                  </a:cubicBezTo>
                  <a:cubicBezTo>
                    <a:pt x="221" y="138"/>
                    <a:pt x="218" y="129"/>
                    <a:pt x="218" y="121"/>
                  </a:cubicBezTo>
                  <a:cubicBezTo>
                    <a:pt x="217" y="119"/>
                    <a:pt x="217" y="118"/>
                    <a:pt x="217" y="116"/>
                  </a:cubicBezTo>
                  <a:cubicBezTo>
                    <a:pt x="225" y="107"/>
                    <a:pt x="234" y="101"/>
                    <a:pt x="245" y="113"/>
                  </a:cubicBezTo>
                  <a:cubicBezTo>
                    <a:pt x="242" y="117"/>
                    <a:pt x="240" y="121"/>
                    <a:pt x="241" y="126"/>
                  </a:cubicBezTo>
                  <a:cubicBezTo>
                    <a:pt x="242" y="130"/>
                    <a:pt x="244" y="137"/>
                    <a:pt x="253" y="142"/>
                  </a:cubicBezTo>
                  <a:cubicBezTo>
                    <a:pt x="256" y="143"/>
                    <a:pt x="258" y="144"/>
                    <a:pt x="261" y="144"/>
                  </a:cubicBezTo>
                  <a:cubicBezTo>
                    <a:pt x="265" y="144"/>
                    <a:pt x="269" y="142"/>
                    <a:pt x="273" y="139"/>
                  </a:cubicBezTo>
                  <a:cubicBezTo>
                    <a:pt x="282" y="139"/>
                    <a:pt x="284" y="156"/>
                    <a:pt x="281" y="166"/>
                  </a:cubicBezTo>
                  <a:cubicBezTo>
                    <a:pt x="280" y="169"/>
                    <a:pt x="279" y="171"/>
                    <a:pt x="278" y="173"/>
                  </a:cubicBezTo>
                  <a:cubicBezTo>
                    <a:pt x="277" y="173"/>
                    <a:pt x="277" y="174"/>
                    <a:pt x="277" y="174"/>
                  </a:cubicBezTo>
                  <a:cubicBezTo>
                    <a:pt x="272" y="177"/>
                    <a:pt x="262" y="176"/>
                    <a:pt x="266" y="180"/>
                  </a:cubicBezTo>
                  <a:cubicBezTo>
                    <a:pt x="267" y="182"/>
                    <a:pt x="269" y="182"/>
                    <a:pt x="271" y="182"/>
                  </a:cubicBezTo>
                  <a:cubicBezTo>
                    <a:pt x="268" y="187"/>
                    <a:pt x="265" y="193"/>
                    <a:pt x="266" y="199"/>
                  </a:cubicBezTo>
                  <a:cubicBezTo>
                    <a:pt x="267" y="218"/>
                    <a:pt x="283" y="238"/>
                    <a:pt x="296" y="254"/>
                  </a:cubicBezTo>
                  <a:cubicBezTo>
                    <a:pt x="303" y="262"/>
                    <a:pt x="346" y="305"/>
                    <a:pt x="352" y="310"/>
                  </a:cubicBezTo>
                  <a:cubicBezTo>
                    <a:pt x="372" y="330"/>
                    <a:pt x="395" y="349"/>
                    <a:pt x="415" y="372"/>
                  </a:cubicBezTo>
                  <a:cubicBezTo>
                    <a:pt x="420" y="378"/>
                    <a:pt x="427" y="385"/>
                    <a:pt x="431" y="393"/>
                  </a:cubicBezTo>
                  <a:cubicBezTo>
                    <a:pt x="434" y="398"/>
                    <a:pt x="435" y="403"/>
                    <a:pt x="436" y="409"/>
                  </a:cubicBezTo>
                  <a:cubicBezTo>
                    <a:pt x="436" y="409"/>
                    <a:pt x="436" y="409"/>
                    <a:pt x="436" y="410"/>
                  </a:cubicBezTo>
                  <a:cubicBezTo>
                    <a:pt x="424" y="398"/>
                    <a:pt x="411" y="381"/>
                    <a:pt x="398" y="369"/>
                  </a:cubicBezTo>
                  <a:cubicBezTo>
                    <a:pt x="390" y="362"/>
                    <a:pt x="366" y="333"/>
                    <a:pt x="361" y="336"/>
                  </a:cubicBezTo>
                  <a:cubicBezTo>
                    <a:pt x="358" y="343"/>
                    <a:pt x="382" y="362"/>
                    <a:pt x="395" y="376"/>
                  </a:cubicBezTo>
                  <a:cubicBezTo>
                    <a:pt x="401" y="383"/>
                    <a:pt x="407" y="388"/>
                    <a:pt x="414" y="397"/>
                  </a:cubicBezTo>
                  <a:cubicBezTo>
                    <a:pt x="417" y="401"/>
                    <a:pt x="421" y="404"/>
                    <a:pt x="424" y="408"/>
                  </a:cubicBezTo>
                  <a:cubicBezTo>
                    <a:pt x="425" y="409"/>
                    <a:pt x="430" y="415"/>
                    <a:pt x="433" y="419"/>
                  </a:cubicBezTo>
                  <a:cubicBezTo>
                    <a:pt x="428" y="440"/>
                    <a:pt x="434" y="462"/>
                    <a:pt x="446" y="466"/>
                  </a:cubicBezTo>
                  <a:cubicBezTo>
                    <a:pt x="435" y="476"/>
                    <a:pt x="419" y="494"/>
                    <a:pt x="410" y="505"/>
                  </a:cubicBezTo>
                  <a:cubicBezTo>
                    <a:pt x="405" y="511"/>
                    <a:pt x="400" y="519"/>
                    <a:pt x="396" y="526"/>
                  </a:cubicBezTo>
                  <a:cubicBezTo>
                    <a:pt x="393" y="532"/>
                    <a:pt x="386" y="543"/>
                    <a:pt x="383" y="549"/>
                  </a:cubicBezTo>
                  <a:cubicBezTo>
                    <a:pt x="379" y="556"/>
                    <a:pt x="369" y="571"/>
                    <a:pt x="363" y="576"/>
                  </a:cubicBezTo>
                  <a:cubicBezTo>
                    <a:pt x="359" y="581"/>
                    <a:pt x="350" y="587"/>
                    <a:pt x="342" y="592"/>
                  </a:cubicBezTo>
                  <a:cubicBezTo>
                    <a:pt x="341" y="587"/>
                    <a:pt x="339" y="583"/>
                    <a:pt x="338" y="577"/>
                  </a:cubicBezTo>
                  <a:cubicBezTo>
                    <a:pt x="338" y="565"/>
                    <a:pt x="339" y="553"/>
                    <a:pt x="344" y="545"/>
                  </a:cubicBezTo>
                  <a:close/>
                  <a:moveTo>
                    <a:pt x="77" y="636"/>
                  </a:moveTo>
                  <a:cubicBezTo>
                    <a:pt x="87" y="636"/>
                    <a:pt x="103" y="637"/>
                    <a:pt x="110" y="644"/>
                  </a:cubicBezTo>
                  <a:cubicBezTo>
                    <a:pt x="114" y="649"/>
                    <a:pt x="115" y="655"/>
                    <a:pt x="113" y="663"/>
                  </a:cubicBezTo>
                  <a:cubicBezTo>
                    <a:pt x="112" y="667"/>
                    <a:pt x="110" y="669"/>
                    <a:pt x="107" y="669"/>
                  </a:cubicBezTo>
                  <a:cubicBezTo>
                    <a:pt x="102" y="670"/>
                    <a:pt x="95" y="668"/>
                    <a:pt x="92" y="663"/>
                  </a:cubicBezTo>
                  <a:cubicBezTo>
                    <a:pt x="89" y="659"/>
                    <a:pt x="87" y="656"/>
                    <a:pt x="85" y="651"/>
                  </a:cubicBezTo>
                  <a:cubicBezTo>
                    <a:pt x="84" y="649"/>
                    <a:pt x="83" y="646"/>
                    <a:pt x="82" y="644"/>
                  </a:cubicBezTo>
                  <a:cubicBezTo>
                    <a:pt x="80" y="640"/>
                    <a:pt x="78" y="638"/>
                    <a:pt x="77" y="636"/>
                  </a:cubicBezTo>
                  <a:close/>
                  <a:moveTo>
                    <a:pt x="11" y="768"/>
                  </a:moveTo>
                  <a:cubicBezTo>
                    <a:pt x="14" y="760"/>
                    <a:pt x="25" y="746"/>
                    <a:pt x="32" y="742"/>
                  </a:cubicBezTo>
                  <a:cubicBezTo>
                    <a:pt x="37" y="740"/>
                    <a:pt x="41" y="738"/>
                    <a:pt x="46" y="738"/>
                  </a:cubicBezTo>
                  <a:cubicBezTo>
                    <a:pt x="49" y="738"/>
                    <a:pt x="51" y="739"/>
                    <a:pt x="53" y="740"/>
                  </a:cubicBezTo>
                  <a:cubicBezTo>
                    <a:pt x="58" y="742"/>
                    <a:pt x="62" y="747"/>
                    <a:pt x="63" y="755"/>
                  </a:cubicBezTo>
                  <a:cubicBezTo>
                    <a:pt x="63" y="757"/>
                    <a:pt x="62" y="760"/>
                    <a:pt x="60" y="762"/>
                  </a:cubicBezTo>
                  <a:cubicBezTo>
                    <a:pt x="57" y="766"/>
                    <a:pt x="50" y="769"/>
                    <a:pt x="45" y="768"/>
                  </a:cubicBezTo>
                  <a:cubicBezTo>
                    <a:pt x="33" y="767"/>
                    <a:pt x="19" y="770"/>
                    <a:pt x="10" y="773"/>
                  </a:cubicBezTo>
                  <a:cubicBezTo>
                    <a:pt x="10" y="771"/>
                    <a:pt x="11" y="769"/>
                    <a:pt x="11" y="768"/>
                  </a:cubicBezTo>
                  <a:close/>
                  <a:moveTo>
                    <a:pt x="116" y="843"/>
                  </a:moveTo>
                  <a:cubicBezTo>
                    <a:pt x="114" y="846"/>
                    <a:pt x="112" y="848"/>
                    <a:pt x="110" y="851"/>
                  </a:cubicBezTo>
                  <a:cubicBezTo>
                    <a:pt x="107" y="855"/>
                    <a:pt x="105" y="857"/>
                    <a:pt x="104" y="860"/>
                  </a:cubicBezTo>
                  <a:cubicBezTo>
                    <a:pt x="100" y="852"/>
                    <a:pt x="95" y="839"/>
                    <a:pt x="98" y="828"/>
                  </a:cubicBezTo>
                  <a:cubicBezTo>
                    <a:pt x="99" y="822"/>
                    <a:pt x="104" y="818"/>
                    <a:pt x="113" y="815"/>
                  </a:cubicBezTo>
                  <a:cubicBezTo>
                    <a:pt x="113" y="815"/>
                    <a:pt x="114" y="815"/>
                    <a:pt x="115" y="815"/>
                  </a:cubicBezTo>
                  <a:cubicBezTo>
                    <a:pt x="118" y="815"/>
                    <a:pt x="120" y="816"/>
                    <a:pt x="122" y="818"/>
                  </a:cubicBezTo>
                  <a:cubicBezTo>
                    <a:pt x="125" y="822"/>
                    <a:pt x="126" y="829"/>
                    <a:pt x="124" y="834"/>
                  </a:cubicBezTo>
                  <a:cubicBezTo>
                    <a:pt x="123" y="838"/>
                    <a:pt x="120" y="840"/>
                    <a:pt x="116" y="843"/>
                  </a:cubicBezTo>
                  <a:close/>
                  <a:moveTo>
                    <a:pt x="276" y="817"/>
                  </a:moveTo>
                  <a:cubicBezTo>
                    <a:pt x="271" y="824"/>
                    <a:pt x="266" y="826"/>
                    <a:pt x="262" y="827"/>
                  </a:cubicBezTo>
                  <a:cubicBezTo>
                    <a:pt x="262" y="825"/>
                    <a:pt x="262" y="825"/>
                    <a:pt x="262" y="825"/>
                  </a:cubicBezTo>
                  <a:cubicBezTo>
                    <a:pt x="262" y="819"/>
                    <a:pt x="262" y="812"/>
                    <a:pt x="260" y="806"/>
                  </a:cubicBezTo>
                  <a:cubicBezTo>
                    <a:pt x="259" y="803"/>
                    <a:pt x="258" y="801"/>
                    <a:pt x="258" y="798"/>
                  </a:cubicBezTo>
                  <a:cubicBezTo>
                    <a:pt x="258" y="795"/>
                    <a:pt x="259" y="793"/>
                    <a:pt x="260" y="791"/>
                  </a:cubicBezTo>
                  <a:cubicBezTo>
                    <a:pt x="260" y="790"/>
                    <a:pt x="261" y="790"/>
                    <a:pt x="261" y="789"/>
                  </a:cubicBezTo>
                  <a:cubicBezTo>
                    <a:pt x="263" y="787"/>
                    <a:pt x="263" y="786"/>
                    <a:pt x="264" y="786"/>
                  </a:cubicBezTo>
                  <a:cubicBezTo>
                    <a:pt x="266" y="786"/>
                    <a:pt x="267" y="785"/>
                    <a:pt x="268" y="785"/>
                  </a:cubicBezTo>
                  <a:cubicBezTo>
                    <a:pt x="269" y="785"/>
                    <a:pt x="271" y="786"/>
                    <a:pt x="272" y="786"/>
                  </a:cubicBezTo>
                  <a:cubicBezTo>
                    <a:pt x="277" y="789"/>
                    <a:pt x="279" y="791"/>
                    <a:pt x="281" y="795"/>
                  </a:cubicBezTo>
                  <a:cubicBezTo>
                    <a:pt x="282" y="801"/>
                    <a:pt x="281" y="809"/>
                    <a:pt x="276" y="817"/>
                  </a:cubicBezTo>
                  <a:close/>
                  <a:moveTo>
                    <a:pt x="223" y="1059"/>
                  </a:moveTo>
                  <a:cubicBezTo>
                    <a:pt x="226" y="1066"/>
                    <a:pt x="223" y="1072"/>
                    <a:pt x="217" y="1078"/>
                  </a:cubicBezTo>
                  <a:cubicBezTo>
                    <a:pt x="213" y="1083"/>
                    <a:pt x="208" y="1082"/>
                    <a:pt x="204" y="1080"/>
                  </a:cubicBezTo>
                  <a:cubicBezTo>
                    <a:pt x="198" y="1077"/>
                    <a:pt x="194" y="1071"/>
                    <a:pt x="194" y="1066"/>
                  </a:cubicBezTo>
                  <a:cubicBezTo>
                    <a:pt x="195" y="1053"/>
                    <a:pt x="195" y="1050"/>
                    <a:pt x="195" y="1044"/>
                  </a:cubicBezTo>
                  <a:cubicBezTo>
                    <a:pt x="195" y="1043"/>
                    <a:pt x="195" y="1043"/>
                    <a:pt x="195" y="1043"/>
                  </a:cubicBezTo>
                  <a:cubicBezTo>
                    <a:pt x="195" y="1041"/>
                    <a:pt x="195" y="1040"/>
                    <a:pt x="195" y="1039"/>
                  </a:cubicBezTo>
                  <a:cubicBezTo>
                    <a:pt x="195" y="1037"/>
                    <a:pt x="195" y="1036"/>
                    <a:pt x="194" y="1033"/>
                  </a:cubicBezTo>
                  <a:cubicBezTo>
                    <a:pt x="204" y="1038"/>
                    <a:pt x="220" y="1047"/>
                    <a:pt x="223" y="1059"/>
                  </a:cubicBezTo>
                  <a:close/>
                  <a:moveTo>
                    <a:pt x="97" y="1116"/>
                  </a:moveTo>
                  <a:cubicBezTo>
                    <a:pt x="102" y="1112"/>
                    <a:pt x="118" y="1106"/>
                    <a:pt x="126" y="1106"/>
                  </a:cubicBezTo>
                  <a:cubicBezTo>
                    <a:pt x="134" y="1107"/>
                    <a:pt x="140" y="1109"/>
                    <a:pt x="143" y="1114"/>
                  </a:cubicBezTo>
                  <a:cubicBezTo>
                    <a:pt x="147" y="1119"/>
                    <a:pt x="145" y="1125"/>
                    <a:pt x="143" y="1129"/>
                  </a:cubicBezTo>
                  <a:cubicBezTo>
                    <a:pt x="143" y="1131"/>
                    <a:pt x="141" y="1132"/>
                    <a:pt x="139" y="1133"/>
                  </a:cubicBezTo>
                  <a:cubicBezTo>
                    <a:pt x="134" y="1134"/>
                    <a:pt x="128" y="1133"/>
                    <a:pt x="124" y="1130"/>
                  </a:cubicBezTo>
                  <a:cubicBezTo>
                    <a:pt x="113" y="1122"/>
                    <a:pt x="105" y="1118"/>
                    <a:pt x="96" y="1117"/>
                  </a:cubicBezTo>
                  <a:cubicBezTo>
                    <a:pt x="96" y="1117"/>
                    <a:pt x="96" y="1116"/>
                    <a:pt x="97" y="1116"/>
                  </a:cubicBezTo>
                  <a:close/>
                  <a:moveTo>
                    <a:pt x="165" y="1239"/>
                  </a:moveTo>
                  <a:cubicBezTo>
                    <a:pt x="161" y="1241"/>
                    <a:pt x="157" y="1243"/>
                    <a:pt x="155" y="1244"/>
                  </a:cubicBezTo>
                  <a:cubicBezTo>
                    <a:pt x="155" y="1235"/>
                    <a:pt x="155" y="1220"/>
                    <a:pt x="163" y="1213"/>
                  </a:cubicBezTo>
                  <a:cubicBezTo>
                    <a:pt x="166" y="1209"/>
                    <a:pt x="171" y="1207"/>
                    <a:pt x="177" y="1207"/>
                  </a:cubicBezTo>
                  <a:cubicBezTo>
                    <a:pt x="178" y="1207"/>
                    <a:pt x="179" y="1208"/>
                    <a:pt x="181" y="1208"/>
                  </a:cubicBezTo>
                  <a:cubicBezTo>
                    <a:pt x="185" y="1208"/>
                    <a:pt x="187" y="1210"/>
                    <a:pt x="189" y="1214"/>
                  </a:cubicBezTo>
                  <a:cubicBezTo>
                    <a:pt x="190" y="1219"/>
                    <a:pt x="189" y="1226"/>
                    <a:pt x="186" y="1229"/>
                  </a:cubicBezTo>
                  <a:cubicBezTo>
                    <a:pt x="182" y="1233"/>
                    <a:pt x="178" y="1234"/>
                    <a:pt x="173" y="1236"/>
                  </a:cubicBezTo>
                  <a:cubicBezTo>
                    <a:pt x="170" y="1237"/>
                    <a:pt x="168" y="1238"/>
                    <a:pt x="165" y="1239"/>
                  </a:cubicBezTo>
                  <a:close/>
                  <a:moveTo>
                    <a:pt x="304" y="1271"/>
                  </a:moveTo>
                  <a:cubicBezTo>
                    <a:pt x="298" y="1278"/>
                    <a:pt x="293" y="1281"/>
                    <a:pt x="288" y="1282"/>
                  </a:cubicBezTo>
                  <a:cubicBezTo>
                    <a:pt x="288" y="1282"/>
                    <a:pt x="288" y="1281"/>
                    <a:pt x="288" y="1281"/>
                  </a:cubicBezTo>
                  <a:cubicBezTo>
                    <a:pt x="288" y="1280"/>
                    <a:pt x="288" y="1280"/>
                    <a:pt x="288" y="1280"/>
                  </a:cubicBezTo>
                  <a:cubicBezTo>
                    <a:pt x="289" y="1274"/>
                    <a:pt x="290" y="1267"/>
                    <a:pt x="289" y="1260"/>
                  </a:cubicBezTo>
                  <a:cubicBezTo>
                    <a:pt x="289" y="1257"/>
                    <a:pt x="289" y="1255"/>
                    <a:pt x="289" y="1252"/>
                  </a:cubicBezTo>
                  <a:cubicBezTo>
                    <a:pt x="290" y="1249"/>
                    <a:pt x="291" y="1247"/>
                    <a:pt x="292" y="1246"/>
                  </a:cubicBezTo>
                  <a:cubicBezTo>
                    <a:pt x="293" y="1245"/>
                    <a:pt x="293" y="1245"/>
                    <a:pt x="293" y="1245"/>
                  </a:cubicBezTo>
                  <a:cubicBezTo>
                    <a:pt x="295" y="1243"/>
                    <a:pt x="296" y="1242"/>
                    <a:pt x="297" y="1241"/>
                  </a:cubicBezTo>
                  <a:cubicBezTo>
                    <a:pt x="299" y="1241"/>
                    <a:pt x="301" y="1241"/>
                    <a:pt x="302" y="1241"/>
                  </a:cubicBezTo>
                  <a:cubicBezTo>
                    <a:pt x="304" y="1241"/>
                    <a:pt x="306" y="1241"/>
                    <a:pt x="307" y="1242"/>
                  </a:cubicBezTo>
                  <a:cubicBezTo>
                    <a:pt x="311" y="1244"/>
                    <a:pt x="313" y="1247"/>
                    <a:pt x="313" y="1251"/>
                  </a:cubicBezTo>
                  <a:cubicBezTo>
                    <a:pt x="314" y="1256"/>
                    <a:pt x="310" y="1264"/>
                    <a:pt x="304" y="1271"/>
                  </a:cubicBezTo>
                  <a:close/>
                  <a:moveTo>
                    <a:pt x="549" y="1062"/>
                  </a:moveTo>
                  <a:cubicBezTo>
                    <a:pt x="532" y="1064"/>
                    <a:pt x="521" y="1063"/>
                    <a:pt x="507" y="1062"/>
                  </a:cubicBezTo>
                  <a:cubicBezTo>
                    <a:pt x="504" y="1076"/>
                    <a:pt x="507" y="1083"/>
                    <a:pt x="505" y="1094"/>
                  </a:cubicBezTo>
                  <a:cubicBezTo>
                    <a:pt x="502" y="1106"/>
                    <a:pt x="497" y="1131"/>
                    <a:pt x="494" y="1146"/>
                  </a:cubicBezTo>
                  <a:cubicBezTo>
                    <a:pt x="491" y="1157"/>
                    <a:pt x="493" y="1179"/>
                    <a:pt x="506" y="1192"/>
                  </a:cubicBezTo>
                  <a:cubicBezTo>
                    <a:pt x="512" y="1197"/>
                    <a:pt x="525" y="1199"/>
                    <a:pt x="506" y="1202"/>
                  </a:cubicBezTo>
                  <a:cubicBezTo>
                    <a:pt x="501" y="1203"/>
                    <a:pt x="497" y="1203"/>
                    <a:pt x="494" y="1204"/>
                  </a:cubicBezTo>
                  <a:cubicBezTo>
                    <a:pt x="487" y="1202"/>
                    <a:pt x="471" y="1185"/>
                    <a:pt x="466" y="1180"/>
                  </a:cubicBezTo>
                  <a:cubicBezTo>
                    <a:pt x="465" y="1179"/>
                    <a:pt x="460" y="1174"/>
                    <a:pt x="460" y="1179"/>
                  </a:cubicBezTo>
                  <a:cubicBezTo>
                    <a:pt x="460" y="1181"/>
                    <a:pt x="463" y="1184"/>
                    <a:pt x="464" y="1185"/>
                  </a:cubicBezTo>
                  <a:cubicBezTo>
                    <a:pt x="468" y="1190"/>
                    <a:pt x="471" y="1197"/>
                    <a:pt x="475" y="1201"/>
                  </a:cubicBezTo>
                  <a:cubicBezTo>
                    <a:pt x="478" y="1204"/>
                    <a:pt x="479" y="1205"/>
                    <a:pt x="481" y="1208"/>
                  </a:cubicBezTo>
                  <a:cubicBezTo>
                    <a:pt x="481" y="1208"/>
                    <a:pt x="481" y="1208"/>
                    <a:pt x="480" y="1208"/>
                  </a:cubicBezTo>
                  <a:cubicBezTo>
                    <a:pt x="477" y="1209"/>
                    <a:pt x="474" y="1209"/>
                    <a:pt x="469" y="1209"/>
                  </a:cubicBezTo>
                  <a:cubicBezTo>
                    <a:pt x="465" y="1209"/>
                    <a:pt x="461" y="1209"/>
                    <a:pt x="457" y="1209"/>
                  </a:cubicBezTo>
                  <a:cubicBezTo>
                    <a:pt x="449" y="1204"/>
                    <a:pt x="431" y="1185"/>
                    <a:pt x="428" y="1186"/>
                  </a:cubicBezTo>
                  <a:cubicBezTo>
                    <a:pt x="423" y="1189"/>
                    <a:pt x="439" y="1203"/>
                    <a:pt x="442" y="1210"/>
                  </a:cubicBezTo>
                  <a:cubicBezTo>
                    <a:pt x="438" y="1210"/>
                    <a:pt x="433" y="1210"/>
                    <a:pt x="425" y="1208"/>
                  </a:cubicBezTo>
                  <a:cubicBezTo>
                    <a:pt x="418" y="1207"/>
                    <a:pt x="412" y="1178"/>
                    <a:pt x="403" y="1183"/>
                  </a:cubicBezTo>
                  <a:cubicBezTo>
                    <a:pt x="402" y="1184"/>
                    <a:pt x="412" y="1208"/>
                    <a:pt x="414" y="1213"/>
                  </a:cubicBezTo>
                  <a:cubicBezTo>
                    <a:pt x="418" y="1220"/>
                    <a:pt x="422" y="1230"/>
                    <a:pt x="427" y="1235"/>
                  </a:cubicBezTo>
                  <a:cubicBezTo>
                    <a:pt x="431" y="1240"/>
                    <a:pt x="433" y="1243"/>
                    <a:pt x="423" y="1239"/>
                  </a:cubicBezTo>
                  <a:cubicBezTo>
                    <a:pt x="405" y="1231"/>
                    <a:pt x="394" y="1214"/>
                    <a:pt x="384" y="1197"/>
                  </a:cubicBezTo>
                  <a:cubicBezTo>
                    <a:pt x="381" y="1197"/>
                    <a:pt x="379" y="1198"/>
                    <a:pt x="379" y="1200"/>
                  </a:cubicBezTo>
                  <a:cubicBezTo>
                    <a:pt x="380" y="1208"/>
                    <a:pt x="385" y="1221"/>
                    <a:pt x="388" y="1228"/>
                  </a:cubicBezTo>
                  <a:cubicBezTo>
                    <a:pt x="390" y="1232"/>
                    <a:pt x="392" y="1237"/>
                    <a:pt x="394" y="1242"/>
                  </a:cubicBezTo>
                  <a:cubicBezTo>
                    <a:pt x="394" y="1243"/>
                    <a:pt x="408" y="1265"/>
                    <a:pt x="398" y="1257"/>
                  </a:cubicBezTo>
                  <a:cubicBezTo>
                    <a:pt x="390" y="1250"/>
                    <a:pt x="381" y="1245"/>
                    <a:pt x="372" y="1231"/>
                  </a:cubicBezTo>
                  <a:cubicBezTo>
                    <a:pt x="369" y="1226"/>
                    <a:pt x="365" y="1223"/>
                    <a:pt x="363" y="1218"/>
                  </a:cubicBezTo>
                  <a:cubicBezTo>
                    <a:pt x="362" y="1216"/>
                    <a:pt x="359" y="1206"/>
                    <a:pt x="353" y="1214"/>
                  </a:cubicBezTo>
                  <a:cubicBezTo>
                    <a:pt x="353" y="1216"/>
                    <a:pt x="354" y="1218"/>
                    <a:pt x="355" y="1221"/>
                  </a:cubicBezTo>
                  <a:cubicBezTo>
                    <a:pt x="352" y="1223"/>
                    <a:pt x="349" y="1224"/>
                    <a:pt x="345" y="1224"/>
                  </a:cubicBezTo>
                  <a:cubicBezTo>
                    <a:pt x="344" y="1220"/>
                    <a:pt x="342" y="1216"/>
                    <a:pt x="339" y="1214"/>
                  </a:cubicBezTo>
                  <a:cubicBezTo>
                    <a:pt x="333" y="1214"/>
                    <a:pt x="336" y="1220"/>
                    <a:pt x="337" y="1224"/>
                  </a:cubicBezTo>
                  <a:cubicBezTo>
                    <a:pt x="339" y="1230"/>
                    <a:pt x="337" y="1239"/>
                    <a:pt x="335" y="1245"/>
                  </a:cubicBezTo>
                  <a:cubicBezTo>
                    <a:pt x="332" y="1250"/>
                    <a:pt x="327" y="1256"/>
                    <a:pt x="321" y="1258"/>
                  </a:cubicBezTo>
                  <a:cubicBezTo>
                    <a:pt x="322" y="1255"/>
                    <a:pt x="322" y="1253"/>
                    <a:pt x="322" y="1250"/>
                  </a:cubicBezTo>
                  <a:cubicBezTo>
                    <a:pt x="321" y="1244"/>
                    <a:pt x="318" y="1239"/>
                    <a:pt x="312" y="1234"/>
                  </a:cubicBezTo>
                  <a:cubicBezTo>
                    <a:pt x="306" y="1231"/>
                    <a:pt x="298" y="1232"/>
                    <a:pt x="295" y="1233"/>
                  </a:cubicBezTo>
                  <a:cubicBezTo>
                    <a:pt x="291" y="1234"/>
                    <a:pt x="289" y="1236"/>
                    <a:pt x="287" y="1238"/>
                  </a:cubicBezTo>
                  <a:cubicBezTo>
                    <a:pt x="286" y="1239"/>
                    <a:pt x="286" y="1239"/>
                    <a:pt x="286" y="1239"/>
                  </a:cubicBezTo>
                  <a:cubicBezTo>
                    <a:pt x="284" y="1242"/>
                    <a:pt x="283" y="1244"/>
                    <a:pt x="282" y="1247"/>
                  </a:cubicBezTo>
                  <a:cubicBezTo>
                    <a:pt x="278" y="1244"/>
                    <a:pt x="278" y="1244"/>
                    <a:pt x="278" y="1244"/>
                  </a:cubicBezTo>
                  <a:cubicBezTo>
                    <a:pt x="275" y="1242"/>
                    <a:pt x="272" y="1238"/>
                    <a:pt x="271" y="1236"/>
                  </a:cubicBezTo>
                  <a:cubicBezTo>
                    <a:pt x="269" y="1233"/>
                    <a:pt x="269" y="1228"/>
                    <a:pt x="270" y="1224"/>
                  </a:cubicBezTo>
                  <a:cubicBezTo>
                    <a:pt x="270" y="1218"/>
                    <a:pt x="280" y="1207"/>
                    <a:pt x="270" y="1208"/>
                  </a:cubicBezTo>
                  <a:cubicBezTo>
                    <a:pt x="268" y="1210"/>
                    <a:pt x="266" y="1213"/>
                    <a:pt x="264" y="1218"/>
                  </a:cubicBezTo>
                  <a:cubicBezTo>
                    <a:pt x="256" y="1217"/>
                    <a:pt x="248" y="1218"/>
                    <a:pt x="241" y="1220"/>
                  </a:cubicBezTo>
                  <a:cubicBezTo>
                    <a:pt x="239" y="1221"/>
                    <a:pt x="237" y="1223"/>
                    <a:pt x="234" y="1224"/>
                  </a:cubicBezTo>
                  <a:cubicBezTo>
                    <a:pt x="234" y="1223"/>
                    <a:pt x="234" y="1222"/>
                    <a:pt x="234" y="1222"/>
                  </a:cubicBezTo>
                  <a:cubicBezTo>
                    <a:pt x="233" y="1219"/>
                    <a:pt x="235" y="1212"/>
                    <a:pt x="231" y="1212"/>
                  </a:cubicBezTo>
                  <a:cubicBezTo>
                    <a:pt x="229" y="1212"/>
                    <a:pt x="228" y="1214"/>
                    <a:pt x="228" y="1216"/>
                  </a:cubicBezTo>
                  <a:cubicBezTo>
                    <a:pt x="227" y="1217"/>
                    <a:pt x="228" y="1220"/>
                    <a:pt x="228" y="1222"/>
                  </a:cubicBezTo>
                  <a:cubicBezTo>
                    <a:pt x="229" y="1224"/>
                    <a:pt x="229" y="1227"/>
                    <a:pt x="228" y="1229"/>
                  </a:cubicBezTo>
                  <a:cubicBezTo>
                    <a:pt x="226" y="1231"/>
                    <a:pt x="224" y="1234"/>
                    <a:pt x="222" y="1237"/>
                  </a:cubicBezTo>
                  <a:cubicBezTo>
                    <a:pt x="215" y="1248"/>
                    <a:pt x="207" y="1250"/>
                    <a:pt x="199" y="1249"/>
                  </a:cubicBezTo>
                  <a:cubicBezTo>
                    <a:pt x="187" y="1248"/>
                    <a:pt x="184" y="1247"/>
                    <a:pt x="180" y="1242"/>
                  </a:cubicBezTo>
                  <a:cubicBezTo>
                    <a:pt x="184" y="1241"/>
                    <a:pt x="188" y="1239"/>
                    <a:pt x="192" y="1236"/>
                  </a:cubicBezTo>
                  <a:cubicBezTo>
                    <a:pt x="198" y="1229"/>
                    <a:pt x="200" y="1219"/>
                    <a:pt x="197" y="1211"/>
                  </a:cubicBezTo>
                  <a:cubicBezTo>
                    <a:pt x="194" y="1204"/>
                    <a:pt x="189" y="1200"/>
                    <a:pt x="182" y="1199"/>
                  </a:cubicBezTo>
                  <a:cubicBezTo>
                    <a:pt x="172" y="1198"/>
                    <a:pt x="163" y="1200"/>
                    <a:pt x="157" y="1206"/>
                  </a:cubicBezTo>
                  <a:cubicBezTo>
                    <a:pt x="156" y="1207"/>
                    <a:pt x="156" y="1208"/>
                    <a:pt x="155" y="1209"/>
                  </a:cubicBezTo>
                  <a:cubicBezTo>
                    <a:pt x="154" y="1205"/>
                    <a:pt x="154" y="1205"/>
                    <a:pt x="154" y="1205"/>
                  </a:cubicBezTo>
                  <a:cubicBezTo>
                    <a:pt x="152" y="1197"/>
                    <a:pt x="159" y="1189"/>
                    <a:pt x="164" y="1183"/>
                  </a:cubicBezTo>
                  <a:cubicBezTo>
                    <a:pt x="165" y="1183"/>
                    <a:pt x="165" y="1182"/>
                    <a:pt x="165" y="1182"/>
                  </a:cubicBezTo>
                  <a:cubicBezTo>
                    <a:pt x="168" y="1180"/>
                    <a:pt x="170" y="1178"/>
                    <a:pt x="178" y="1177"/>
                  </a:cubicBezTo>
                  <a:cubicBezTo>
                    <a:pt x="179" y="1177"/>
                    <a:pt x="182" y="1176"/>
                    <a:pt x="184" y="1176"/>
                  </a:cubicBezTo>
                  <a:cubicBezTo>
                    <a:pt x="188" y="1177"/>
                    <a:pt x="191" y="1180"/>
                    <a:pt x="195" y="1181"/>
                  </a:cubicBezTo>
                  <a:cubicBezTo>
                    <a:pt x="196" y="1182"/>
                    <a:pt x="199" y="1182"/>
                    <a:pt x="199" y="1180"/>
                  </a:cubicBezTo>
                  <a:cubicBezTo>
                    <a:pt x="199" y="1179"/>
                    <a:pt x="196" y="1177"/>
                    <a:pt x="195" y="1176"/>
                  </a:cubicBezTo>
                  <a:cubicBezTo>
                    <a:pt x="193" y="1175"/>
                    <a:pt x="193" y="1175"/>
                    <a:pt x="193" y="1175"/>
                  </a:cubicBezTo>
                  <a:cubicBezTo>
                    <a:pt x="197" y="1174"/>
                    <a:pt x="200" y="1174"/>
                    <a:pt x="204" y="1173"/>
                  </a:cubicBezTo>
                  <a:cubicBezTo>
                    <a:pt x="214" y="1170"/>
                    <a:pt x="223" y="1165"/>
                    <a:pt x="229" y="1163"/>
                  </a:cubicBezTo>
                  <a:cubicBezTo>
                    <a:pt x="237" y="1161"/>
                    <a:pt x="251" y="1158"/>
                    <a:pt x="253" y="1154"/>
                  </a:cubicBezTo>
                  <a:cubicBezTo>
                    <a:pt x="255" y="1150"/>
                    <a:pt x="244" y="1151"/>
                    <a:pt x="241" y="1152"/>
                  </a:cubicBezTo>
                  <a:cubicBezTo>
                    <a:pt x="228" y="1153"/>
                    <a:pt x="211" y="1163"/>
                    <a:pt x="201" y="1163"/>
                  </a:cubicBezTo>
                  <a:cubicBezTo>
                    <a:pt x="198" y="1164"/>
                    <a:pt x="192" y="1164"/>
                    <a:pt x="186" y="1164"/>
                  </a:cubicBezTo>
                  <a:cubicBezTo>
                    <a:pt x="183" y="1165"/>
                    <a:pt x="180" y="1165"/>
                    <a:pt x="178" y="1165"/>
                  </a:cubicBezTo>
                  <a:cubicBezTo>
                    <a:pt x="178" y="1165"/>
                    <a:pt x="178" y="1164"/>
                    <a:pt x="178" y="1164"/>
                  </a:cubicBezTo>
                  <a:cubicBezTo>
                    <a:pt x="178" y="1163"/>
                    <a:pt x="178" y="1162"/>
                    <a:pt x="178" y="1161"/>
                  </a:cubicBezTo>
                  <a:cubicBezTo>
                    <a:pt x="178" y="1159"/>
                    <a:pt x="178" y="1155"/>
                    <a:pt x="176" y="1155"/>
                  </a:cubicBezTo>
                  <a:cubicBezTo>
                    <a:pt x="176" y="1155"/>
                    <a:pt x="175" y="1155"/>
                    <a:pt x="174" y="1156"/>
                  </a:cubicBezTo>
                  <a:cubicBezTo>
                    <a:pt x="173" y="1158"/>
                    <a:pt x="173" y="1160"/>
                    <a:pt x="172" y="1162"/>
                  </a:cubicBezTo>
                  <a:cubicBezTo>
                    <a:pt x="172" y="1163"/>
                    <a:pt x="171" y="1165"/>
                    <a:pt x="170" y="1166"/>
                  </a:cubicBezTo>
                  <a:cubicBezTo>
                    <a:pt x="165" y="1169"/>
                    <a:pt x="164" y="1174"/>
                    <a:pt x="158" y="1174"/>
                  </a:cubicBezTo>
                  <a:cubicBezTo>
                    <a:pt x="151" y="1175"/>
                    <a:pt x="140" y="1176"/>
                    <a:pt x="130" y="1166"/>
                  </a:cubicBezTo>
                  <a:cubicBezTo>
                    <a:pt x="125" y="1160"/>
                    <a:pt x="118" y="1148"/>
                    <a:pt x="120" y="1138"/>
                  </a:cubicBezTo>
                  <a:cubicBezTo>
                    <a:pt x="124" y="1140"/>
                    <a:pt x="130" y="1142"/>
                    <a:pt x="135" y="1142"/>
                  </a:cubicBezTo>
                  <a:cubicBezTo>
                    <a:pt x="137" y="1142"/>
                    <a:pt x="139" y="1142"/>
                    <a:pt x="141" y="1141"/>
                  </a:cubicBezTo>
                  <a:cubicBezTo>
                    <a:pt x="146" y="1140"/>
                    <a:pt x="150" y="1137"/>
                    <a:pt x="151" y="1132"/>
                  </a:cubicBezTo>
                  <a:cubicBezTo>
                    <a:pt x="156" y="1121"/>
                    <a:pt x="154" y="1114"/>
                    <a:pt x="151" y="1109"/>
                  </a:cubicBezTo>
                  <a:cubicBezTo>
                    <a:pt x="147" y="1104"/>
                    <a:pt x="140" y="1100"/>
                    <a:pt x="132" y="1099"/>
                  </a:cubicBezTo>
                  <a:cubicBezTo>
                    <a:pt x="144" y="1087"/>
                    <a:pt x="159" y="1092"/>
                    <a:pt x="171" y="1100"/>
                  </a:cubicBezTo>
                  <a:cubicBezTo>
                    <a:pt x="173" y="1102"/>
                    <a:pt x="175" y="1104"/>
                    <a:pt x="176" y="1107"/>
                  </a:cubicBezTo>
                  <a:cubicBezTo>
                    <a:pt x="176" y="1110"/>
                    <a:pt x="177" y="1118"/>
                    <a:pt x="182" y="1117"/>
                  </a:cubicBezTo>
                  <a:cubicBezTo>
                    <a:pt x="184" y="1116"/>
                    <a:pt x="184" y="1113"/>
                    <a:pt x="184" y="1111"/>
                  </a:cubicBezTo>
                  <a:cubicBezTo>
                    <a:pt x="184" y="1111"/>
                    <a:pt x="184" y="1109"/>
                    <a:pt x="184" y="1108"/>
                  </a:cubicBezTo>
                  <a:cubicBezTo>
                    <a:pt x="194" y="1115"/>
                    <a:pt x="233" y="1121"/>
                    <a:pt x="238" y="1120"/>
                  </a:cubicBezTo>
                  <a:cubicBezTo>
                    <a:pt x="247" y="1117"/>
                    <a:pt x="227" y="1110"/>
                    <a:pt x="223" y="1109"/>
                  </a:cubicBezTo>
                  <a:cubicBezTo>
                    <a:pt x="220" y="1108"/>
                    <a:pt x="218" y="1108"/>
                    <a:pt x="216" y="1107"/>
                  </a:cubicBezTo>
                  <a:cubicBezTo>
                    <a:pt x="218" y="1106"/>
                    <a:pt x="219" y="1104"/>
                    <a:pt x="220" y="1102"/>
                  </a:cubicBezTo>
                  <a:cubicBezTo>
                    <a:pt x="220" y="1102"/>
                    <a:pt x="220" y="1100"/>
                    <a:pt x="219" y="1100"/>
                  </a:cubicBezTo>
                  <a:cubicBezTo>
                    <a:pt x="219" y="1099"/>
                    <a:pt x="218" y="1099"/>
                    <a:pt x="217" y="1099"/>
                  </a:cubicBezTo>
                  <a:cubicBezTo>
                    <a:pt x="216" y="1099"/>
                    <a:pt x="214" y="1102"/>
                    <a:pt x="213" y="1103"/>
                  </a:cubicBezTo>
                  <a:cubicBezTo>
                    <a:pt x="212" y="1105"/>
                    <a:pt x="210" y="1105"/>
                    <a:pt x="208" y="1105"/>
                  </a:cubicBezTo>
                  <a:cubicBezTo>
                    <a:pt x="195" y="1102"/>
                    <a:pt x="187" y="1100"/>
                    <a:pt x="176" y="1090"/>
                  </a:cubicBezTo>
                  <a:cubicBezTo>
                    <a:pt x="176" y="1085"/>
                    <a:pt x="181" y="1076"/>
                    <a:pt x="187" y="1073"/>
                  </a:cubicBezTo>
                  <a:cubicBezTo>
                    <a:pt x="189" y="1079"/>
                    <a:pt x="194" y="1085"/>
                    <a:pt x="201" y="1088"/>
                  </a:cubicBezTo>
                  <a:cubicBezTo>
                    <a:pt x="204" y="1090"/>
                    <a:pt x="207" y="1090"/>
                    <a:pt x="210" y="1090"/>
                  </a:cubicBezTo>
                  <a:cubicBezTo>
                    <a:pt x="215" y="1090"/>
                    <a:pt x="219" y="1088"/>
                    <a:pt x="223" y="1085"/>
                  </a:cubicBezTo>
                  <a:cubicBezTo>
                    <a:pt x="230" y="1078"/>
                    <a:pt x="232" y="1071"/>
                    <a:pt x="233" y="1066"/>
                  </a:cubicBezTo>
                  <a:cubicBezTo>
                    <a:pt x="245" y="1068"/>
                    <a:pt x="249" y="1076"/>
                    <a:pt x="251" y="1086"/>
                  </a:cubicBezTo>
                  <a:cubicBezTo>
                    <a:pt x="251" y="1087"/>
                    <a:pt x="251" y="1088"/>
                    <a:pt x="251" y="1089"/>
                  </a:cubicBezTo>
                  <a:cubicBezTo>
                    <a:pt x="251" y="1090"/>
                    <a:pt x="250" y="1091"/>
                    <a:pt x="250" y="1091"/>
                  </a:cubicBezTo>
                  <a:cubicBezTo>
                    <a:pt x="249" y="1092"/>
                    <a:pt x="247" y="1093"/>
                    <a:pt x="246" y="1094"/>
                  </a:cubicBezTo>
                  <a:cubicBezTo>
                    <a:pt x="245" y="1094"/>
                    <a:pt x="243" y="1095"/>
                    <a:pt x="243" y="1096"/>
                  </a:cubicBezTo>
                  <a:cubicBezTo>
                    <a:pt x="243" y="1097"/>
                    <a:pt x="243" y="1098"/>
                    <a:pt x="244" y="1098"/>
                  </a:cubicBezTo>
                  <a:cubicBezTo>
                    <a:pt x="247" y="1098"/>
                    <a:pt x="250" y="1097"/>
                    <a:pt x="253" y="1097"/>
                  </a:cubicBezTo>
                  <a:cubicBezTo>
                    <a:pt x="254" y="1105"/>
                    <a:pt x="255" y="1112"/>
                    <a:pt x="257" y="1115"/>
                  </a:cubicBezTo>
                  <a:cubicBezTo>
                    <a:pt x="260" y="1119"/>
                    <a:pt x="265" y="1122"/>
                    <a:pt x="265" y="1122"/>
                  </a:cubicBezTo>
                  <a:cubicBezTo>
                    <a:pt x="280" y="1125"/>
                    <a:pt x="282" y="1124"/>
                    <a:pt x="288" y="1124"/>
                  </a:cubicBezTo>
                  <a:cubicBezTo>
                    <a:pt x="295" y="1125"/>
                    <a:pt x="320" y="1123"/>
                    <a:pt x="326" y="1122"/>
                  </a:cubicBezTo>
                  <a:cubicBezTo>
                    <a:pt x="336" y="1119"/>
                    <a:pt x="356" y="1114"/>
                    <a:pt x="359" y="1110"/>
                  </a:cubicBezTo>
                  <a:cubicBezTo>
                    <a:pt x="365" y="1104"/>
                    <a:pt x="371" y="1099"/>
                    <a:pt x="374" y="1086"/>
                  </a:cubicBezTo>
                  <a:cubicBezTo>
                    <a:pt x="376" y="1077"/>
                    <a:pt x="378" y="1066"/>
                    <a:pt x="380" y="1058"/>
                  </a:cubicBezTo>
                  <a:cubicBezTo>
                    <a:pt x="382" y="1047"/>
                    <a:pt x="394" y="1011"/>
                    <a:pt x="400" y="1002"/>
                  </a:cubicBezTo>
                  <a:cubicBezTo>
                    <a:pt x="411" y="986"/>
                    <a:pt x="427" y="986"/>
                    <a:pt x="441" y="982"/>
                  </a:cubicBezTo>
                  <a:cubicBezTo>
                    <a:pt x="455" y="979"/>
                    <a:pt x="460" y="978"/>
                    <a:pt x="463" y="976"/>
                  </a:cubicBezTo>
                  <a:cubicBezTo>
                    <a:pt x="473" y="965"/>
                    <a:pt x="416" y="980"/>
                    <a:pt x="400" y="979"/>
                  </a:cubicBezTo>
                  <a:cubicBezTo>
                    <a:pt x="378" y="978"/>
                    <a:pt x="357" y="973"/>
                    <a:pt x="336" y="970"/>
                  </a:cubicBezTo>
                  <a:cubicBezTo>
                    <a:pt x="312" y="967"/>
                    <a:pt x="289" y="968"/>
                    <a:pt x="266" y="972"/>
                  </a:cubicBezTo>
                  <a:cubicBezTo>
                    <a:pt x="269" y="969"/>
                    <a:pt x="274" y="963"/>
                    <a:pt x="275" y="962"/>
                  </a:cubicBezTo>
                  <a:cubicBezTo>
                    <a:pt x="278" y="959"/>
                    <a:pt x="282" y="955"/>
                    <a:pt x="285" y="953"/>
                  </a:cubicBezTo>
                  <a:cubicBezTo>
                    <a:pt x="287" y="951"/>
                    <a:pt x="290" y="949"/>
                    <a:pt x="293" y="947"/>
                  </a:cubicBezTo>
                  <a:cubicBezTo>
                    <a:pt x="305" y="947"/>
                    <a:pt x="327" y="946"/>
                    <a:pt x="337" y="947"/>
                  </a:cubicBezTo>
                  <a:cubicBezTo>
                    <a:pt x="353" y="949"/>
                    <a:pt x="367" y="951"/>
                    <a:pt x="382" y="952"/>
                  </a:cubicBezTo>
                  <a:cubicBezTo>
                    <a:pt x="384" y="952"/>
                    <a:pt x="387" y="948"/>
                    <a:pt x="386" y="948"/>
                  </a:cubicBezTo>
                  <a:cubicBezTo>
                    <a:pt x="381" y="947"/>
                    <a:pt x="376" y="947"/>
                    <a:pt x="371" y="947"/>
                  </a:cubicBezTo>
                  <a:cubicBezTo>
                    <a:pt x="363" y="946"/>
                    <a:pt x="354" y="944"/>
                    <a:pt x="347" y="943"/>
                  </a:cubicBezTo>
                  <a:cubicBezTo>
                    <a:pt x="334" y="941"/>
                    <a:pt x="316" y="940"/>
                    <a:pt x="302" y="941"/>
                  </a:cubicBezTo>
                  <a:cubicBezTo>
                    <a:pt x="303" y="940"/>
                    <a:pt x="304" y="940"/>
                    <a:pt x="304" y="940"/>
                  </a:cubicBezTo>
                  <a:cubicBezTo>
                    <a:pt x="315" y="934"/>
                    <a:pt x="335" y="926"/>
                    <a:pt x="348" y="926"/>
                  </a:cubicBezTo>
                  <a:cubicBezTo>
                    <a:pt x="353" y="926"/>
                    <a:pt x="361" y="926"/>
                    <a:pt x="367" y="928"/>
                  </a:cubicBezTo>
                  <a:cubicBezTo>
                    <a:pt x="371" y="929"/>
                    <a:pt x="378" y="933"/>
                    <a:pt x="381" y="933"/>
                  </a:cubicBezTo>
                  <a:cubicBezTo>
                    <a:pt x="389" y="933"/>
                    <a:pt x="383" y="917"/>
                    <a:pt x="383" y="911"/>
                  </a:cubicBezTo>
                  <a:cubicBezTo>
                    <a:pt x="382" y="900"/>
                    <a:pt x="390" y="891"/>
                    <a:pt x="399" y="885"/>
                  </a:cubicBezTo>
                  <a:cubicBezTo>
                    <a:pt x="399" y="894"/>
                    <a:pt x="403" y="916"/>
                    <a:pt x="410" y="916"/>
                  </a:cubicBezTo>
                  <a:cubicBezTo>
                    <a:pt x="415" y="916"/>
                    <a:pt x="412" y="910"/>
                    <a:pt x="411" y="908"/>
                  </a:cubicBezTo>
                  <a:cubicBezTo>
                    <a:pt x="409" y="905"/>
                    <a:pt x="407" y="897"/>
                    <a:pt x="407" y="894"/>
                  </a:cubicBezTo>
                  <a:cubicBezTo>
                    <a:pt x="407" y="888"/>
                    <a:pt x="408" y="882"/>
                    <a:pt x="413" y="878"/>
                  </a:cubicBezTo>
                  <a:cubicBezTo>
                    <a:pt x="417" y="877"/>
                    <a:pt x="420" y="876"/>
                    <a:pt x="424" y="876"/>
                  </a:cubicBezTo>
                  <a:cubicBezTo>
                    <a:pt x="422" y="879"/>
                    <a:pt x="419" y="884"/>
                    <a:pt x="419" y="887"/>
                  </a:cubicBezTo>
                  <a:cubicBezTo>
                    <a:pt x="419" y="892"/>
                    <a:pt x="420" y="895"/>
                    <a:pt x="422" y="900"/>
                  </a:cubicBezTo>
                  <a:cubicBezTo>
                    <a:pt x="423" y="902"/>
                    <a:pt x="425" y="904"/>
                    <a:pt x="427" y="906"/>
                  </a:cubicBezTo>
                  <a:cubicBezTo>
                    <a:pt x="437" y="917"/>
                    <a:pt x="450" y="921"/>
                    <a:pt x="464" y="923"/>
                  </a:cubicBezTo>
                  <a:cubicBezTo>
                    <a:pt x="504" y="923"/>
                    <a:pt x="538" y="909"/>
                    <a:pt x="579" y="911"/>
                  </a:cubicBezTo>
                  <a:cubicBezTo>
                    <a:pt x="612" y="912"/>
                    <a:pt x="646" y="913"/>
                    <a:pt x="657" y="920"/>
                  </a:cubicBezTo>
                  <a:cubicBezTo>
                    <a:pt x="655" y="929"/>
                    <a:pt x="650" y="937"/>
                    <a:pt x="650" y="948"/>
                  </a:cubicBezTo>
                  <a:cubicBezTo>
                    <a:pt x="650" y="968"/>
                    <a:pt x="658" y="980"/>
                    <a:pt x="676" y="990"/>
                  </a:cubicBezTo>
                  <a:cubicBezTo>
                    <a:pt x="675" y="991"/>
                    <a:pt x="675" y="992"/>
                    <a:pt x="675" y="993"/>
                  </a:cubicBezTo>
                  <a:cubicBezTo>
                    <a:pt x="672" y="1001"/>
                    <a:pt x="668" y="1017"/>
                    <a:pt x="664" y="1035"/>
                  </a:cubicBezTo>
                  <a:cubicBezTo>
                    <a:pt x="630" y="1051"/>
                    <a:pt x="589" y="1057"/>
                    <a:pt x="549" y="1062"/>
                  </a:cubicBezTo>
                  <a:close/>
                  <a:moveTo>
                    <a:pt x="578" y="1404"/>
                  </a:moveTo>
                  <a:cubicBezTo>
                    <a:pt x="576" y="1404"/>
                    <a:pt x="575" y="1403"/>
                    <a:pt x="574" y="1403"/>
                  </a:cubicBezTo>
                  <a:cubicBezTo>
                    <a:pt x="572" y="1403"/>
                    <a:pt x="571" y="1403"/>
                    <a:pt x="569" y="1403"/>
                  </a:cubicBezTo>
                  <a:cubicBezTo>
                    <a:pt x="568" y="1403"/>
                    <a:pt x="568" y="1403"/>
                    <a:pt x="566" y="1403"/>
                  </a:cubicBezTo>
                  <a:cubicBezTo>
                    <a:pt x="571" y="1397"/>
                    <a:pt x="578" y="1391"/>
                    <a:pt x="587" y="1388"/>
                  </a:cubicBezTo>
                  <a:cubicBezTo>
                    <a:pt x="594" y="1385"/>
                    <a:pt x="605" y="1383"/>
                    <a:pt x="614" y="1391"/>
                  </a:cubicBezTo>
                  <a:cubicBezTo>
                    <a:pt x="615" y="1391"/>
                    <a:pt x="618" y="1394"/>
                    <a:pt x="616" y="1400"/>
                  </a:cubicBezTo>
                  <a:cubicBezTo>
                    <a:pt x="613" y="1406"/>
                    <a:pt x="604" y="1412"/>
                    <a:pt x="599" y="1411"/>
                  </a:cubicBezTo>
                  <a:cubicBezTo>
                    <a:pt x="593" y="1410"/>
                    <a:pt x="590" y="1408"/>
                    <a:pt x="587" y="1407"/>
                  </a:cubicBezTo>
                  <a:cubicBezTo>
                    <a:pt x="584" y="1406"/>
                    <a:pt x="582" y="1404"/>
                    <a:pt x="578" y="1404"/>
                  </a:cubicBezTo>
                  <a:close/>
                  <a:moveTo>
                    <a:pt x="605" y="1532"/>
                  </a:moveTo>
                  <a:cubicBezTo>
                    <a:pt x="604" y="1531"/>
                    <a:pt x="603" y="1530"/>
                    <a:pt x="603" y="1529"/>
                  </a:cubicBezTo>
                  <a:cubicBezTo>
                    <a:pt x="601" y="1522"/>
                    <a:pt x="602" y="1505"/>
                    <a:pt x="605" y="1499"/>
                  </a:cubicBezTo>
                  <a:cubicBezTo>
                    <a:pt x="609" y="1491"/>
                    <a:pt x="617" y="1485"/>
                    <a:pt x="623" y="1484"/>
                  </a:cubicBezTo>
                  <a:cubicBezTo>
                    <a:pt x="623" y="1484"/>
                    <a:pt x="623" y="1484"/>
                    <a:pt x="624" y="1484"/>
                  </a:cubicBezTo>
                  <a:cubicBezTo>
                    <a:pt x="627" y="1484"/>
                    <a:pt x="631" y="1486"/>
                    <a:pt x="634" y="1490"/>
                  </a:cubicBezTo>
                  <a:cubicBezTo>
                    <a:pt x="639" y="1499"/>
                    <a:pt x="634" y="1505"/>
                    <a:pt x="628" y="1509"/>
                  </a:cubicBezTo>
                  <a:cubicBezTo>
                    <a:pt x="618" y="1517"/>
                    <a:pt x="610" y="1523"/>
                    <a:pt x="605" y="1532"/>
                  </a:cubicBezTo>
                  <a:close/>
                  <a:moveTo>
                    <a:pt x="740" y="1509"/>
                  </a:moveTo>
                  <a:cubicBezTo>
                    <a:pt x="739" y="1511"/>
                    <a:pt x="737" y="1513"/>
                    <a:pt x="736" y="1515"/>
                  </a:cubicBezTo>
                  <a:cubicBezTo>
                    <a:pt x="734" y="1518"/>
                    <a:pt x="732" y="1521"/>
                    <a:pt x="730" y="1523"/>
                  </a:cubicBezTo>
                  <a:cubicBezTo>
                    <a:pt x="730" y="1524"/>
                    <a:pt x="729" y="1525"/>
                    <a:pt x="728" y="1526"/>
                  </a:cubicBezTo>
                  <a:cubicBezTo>
                    <a:pt x="720" y="1514"/>
                    <a:pt x="716" y="1504"/>
                    <a:pt x="718" y="1496"/>
                  </a:cubicBezTo>
                  <a:cubicBezTo>
                    <a:pt x="718" y="1491"/>
                    <a:pt x="721" y="1487"/>
                    <a:pt x="727" y="1484"/>
                  </a:cubicBezTo>
                  <a:cubicBezTo>
                    <a:pt x="728" y="1483"/>
                    <a:pt x="730" y="1483"/>
                    <a:pt x="731" y="1483"/>
                  </a:cubicBezTo>
                  <a:cubicBezTo>
                    <a:pt x="734" y="1483"/>
                    <a:pt x="737" y="1484"/>
                    <a:pt x="738" y="1485"/>
                  </a:cubicBezTo>
                  <a:cubicBezTo>
                    <a:pt x="743" y="1488"/>
                    <a:pt x="747" y="1494"/>
                    <a:pt x="746" y="1498"/>
                  </a:cubicBezTo>
                  <a:cubicBezTo>
                    <a:pt x="746" y="1503"/>
                    <a:pt x="744" y="1505"/>
                    <a:pt x="740" y="1509"/>
                  </a:cubicBezTo>
                  <a:close/>
                  <a:moveTo>
                    <a:pt x="849" y="1421"/>
                  </a:moveTo>
                  <a:cubicBezTo>
                    <a:pt x="848" y="1420"/>
                    <a:pt x="846" y="1418"/>
                    <a:pt x="845" y="1416"/>
                  </a:cubicBezTo>
                  <a:cubicBezTo>
                    <a:pt x="841" y="1408"/>
                    <a:pt x="839" y="1406"/>
                    <a:pt x="832" y="1403"/>
                  </a:cubicBezTo>
                  <a:cubicBezTo>
                    <a:pt x="831" y="1403"/>
                    <a:pt x="830" y="1402"/>
                    <a:pt x="829" y="1402"/>
                  </a:cubicBezTo>
                  <a:cubicBezTo>
                    <a:pt x="827" y="1401"/>
                    <a:pt x="826" y="1401"/>
                    <a:pt x="826" y="1401"/>
                  </a:cubicBezTo>
                  <a:cubicBezTo>
                    <a:pt x="825" y="1398"/>
                    <a:pt x="824" y="1396"/>
                    <a:pt x="824" y="1394"/>
                  </a:cubicBezTo>
                  <a:cubicBezTo>
                    <a:pt x="824" y="1393"/>
                    <a:pt x="824" y="1392"/>
                    <a:pt x="824" y="1391"/>
                  </a:cubicBezTo>
                  <a:cubicBezTo>
                    <a:pt x="824" y="1389"/>
                    <a:pt x="825" y="1388"/>
                    <a:pt x="825" y="1387"/>
                  </a:cubicBezTo>
                  <a:cubicBezTo>
                    <a:pt x="827" y="1385"/>
                    <a:pt x="831" y="1382"/>
                    <a:pt x="833" y="1382"/>
                  </a:cubicBezTo>
                  <a:cubicBezTo>
                    <a:pt x="834" y="1382"/>
                    <a:pt x="834" y="1382"/>
                    <a:pt x="835" y="1382"/>
                  </a:cubicBezTo>
                  <a:cubicBezTo>
                    <a:pt x="840" y="1382"/>
                    <a:pt x="844" y="1383"/>
                    <a:pt x="847" y="1386"/>
                  </a:cubicBezTo>
                  <a:cubicBezTo>
                    <a:pt x="851" y="1390"/>
                    <a:pt x="853" y="1397"/>
                    <a:pt x="853" y="1405"/>
                  </a:cubicBezTo>
                  <a:cubicBezTo>
                    <a:pt x="852" y="1414"/>
                    <a:pt x="851" y="1418"/>
                    <a:pt x="849" y="142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181;p1">
              <a:extLst>
                <a:ext uri="{FF2B5EF4-FFF2-40B4-BE49-F238E27FC236}">
                  <a16:creationId xmlns:a16="http://schemas.microsoft.com/office/drawing/2014/main" id="{CAA66A0E-F47A-4996-82F0-03B567911EF2}"/>
                </a:ext>
              </a:extLst>
            </p:cNvPr>
            <p:cNvSpPr/>
            <p:nvPr/>
          </p:nvSpPr>
          <p:spPr>
            <a:xfrm>
              <a:off x="13490575" y="2032000"/>
              <a:ext cx="1395413" cy="1385888"/>
            </a:xfrm>
            <a:custGeom>
              <a:avLst/>
              <a:gdLst/>
              <a:ahLst/>
              <a:cxnLst/>
              <a:rect l="l" t="t" r="r" b="b"/>
              <a:pathLst>
                <a:path w="2492" h="2476" extrusionOk="0">
                  <a:moveTo>
                    <a:pt x="2433" y="2236"/>
                  </a:moveTo>
                  <a:cubicBezTo>
                    <a:pt x="2406" y="2209"/>
                    <a:pt x="2370" y="2195"/>
                    <a:pt x="2334" y="2195"/>
                  </a:cubicBezTo>
                  <a:cubicBezTo>
                    <a:pt x="2318" y="2195"/>
                    <a:pt x="2303" y="2198"/>
                    <a:pt x="2289" y="2202"/>
                  </a:cubicBezTo>
                  <a:cubicBezTo>
                    <a:pt x="2286" y="2199"/>
                    <a:pt x="2279" y="2191"/>
                    <a:pt x="2269" y="2179"/>
                  </a:cubicBezTo>
                  <a:cubicBezTo>
                    <a:pt x="2269" y="2179"/>
                    <a:pt x="2269" y="2179"/>
                    <a:pt x="2269" y="2179"/>
                  </a:cubicBezTo>
                  <a:cubicBezTo>
                    <a:pt x="2260" y="2169"/>
                    <a:pt x="2250" y="2156"/>
                    <a:pt x="2237" y="2142"/>
                  </a:cubicBezTo>
                  <a:cubicBezTo>
                    <a:pt x="2227" y="2130"/>
                    <a:pt x="2216" y="2118"/>
                    <a:pt x="2205" y="2105"/>
                  </a:cubicBezTo>
                  <a:cubicBezTo>
                    <a:pt x="2205" y="2105"/>
                    <a:pt x="2205" y="2105"/>
                    <a:pt x="2205" y="2105"/>
                  </a:cubicBezTo>
                  <a:cubicBezTo>
                    <a:pt x="2194" y="2093"/>
                    <a:pt x="2183" y="2081"/>
                    <a:pt x="2172" y="2068"/>
                  </a:cubicBezTo>
                  <a:cubicBezTo>
                    <a:pt x="2162" y="2056"/>
                    <a:pt x="2151" y="2044"/>
                    <a:pt x="2139" y="2031"/>
                  </a:cubicBezTo>
                  <a:cubicBezTo>
                    <a:pt x="2129" y="2019"/>
                    <a:pt x="2118" y="2007"/>
                    <a:pt x="2107" y="1995"/>
                  </a:cubicBezTo>
                  <a:cubicBezTo>
                    <a:pt x="2096" y="1983"/>
                    <a:pt x="2085" y="1971"/>
                    <a:pt x="2074" y="1959"/>
                  </a:cubicBezTo>
                  <a:cubicBezTo>
                    <a:pt x="2063" y="1947"/>
                    <a:pt x="2052" y="1935"/>
                    <a:pt x="2041" y="1923"/>
                  </a:cubicBezTo>
                  <a:cubicBezTo>
                    <a:pt x="2029" y="1911"/>
                    <a:pt x="2018" y="1899"/>
                    <a:pt x="2007" y="1888"/>
                  </a:cubicBezTo>
                  <a:cubicBezTo>
                    <a:pt x="2007" y="1888"/>
                    <a:pt x="2007" y="1888"/>
                    <a:pt x="2007" y="1888"/>
                  </a:cubicBezTo>
                  <a:cubicBezTo>
                    <a:pt x="1996" y="1876"/>
                    <a:pt x="1985" y="1864"/>
                    <a:pt x="1973" y="1853"/>
                  </a:cubicBezTo>
                  <a:cubicBezTo>
                    <a:pt x="1973" y="1853"/>
                    <a:pt x="1973" y="1853"/>
                    <a:pt x="1973" y="1853"/>
                  </a:cubicBezTo>
                  <a:cubicBezTo>
                    <a:pt x="1962" y="1841"/>
                    <a:pt x="1950" y="1830"/>
                    <a:pt x="1939" y="1819"/>
                  </a:cubicBezTo>
                  <a:cubicBezTo>
                    <a:pt x="1932" y="1812"/>
                    <a:pt x="1925" y="1805"/>
                    <a:pt x="1918" y="1799"/>
                  </a:cubicBezTo>
                  <a:cubicBezTo>
                    <a:pt x="1917" y="1798"/>
                    <a:pt x="1917" y="1798"/>
                    <a:pt x="1917" y="1798"/>
                  </a:cubicBezTo>
                  <a:cubicBezTo>
                    <a:pt x="1916" y="1796"/>
                    <a:pt x="1915" y="1795"/>
                    <a:pt x="1914" y="1795"/>
                  </a:cubicBezTo>
                  <a:cubicBezTo>
                    <a:pt x="1988" y="1723"/>
                    <a:pt x="2111" y="1609"/>
                    <a:pt x="2178" y="1567"/>
                  </a:cubicBezTo>
                  <a:cubicBezTo>
                    <a:pt x="2184" y="1563"/>
                    <a:pt x="2184" y="1553"/>
                    <a:pt x="2178" y="1549"/>
                  </a:cubicBezTo>
                  <a:cubicBezTo>
                    <a:pt x="2106" y="1503"/>
                    <a:pt x="2071" y="1487"/>
                    <a:pt x="2056" y="1482"/>
                  </a:cubicBezTo>
                  <a:cubicBezTo>
                    <a:pt x="2055" y="1482"/>
                    <a:pt x="2054" y="1481"/>
                    <a:pt x="2053" y="1481"/>
                  </a:cubicBezTo>
                  <a:cubicBezTo>
                    <a:pt x="2049" y="1481"/>
                    <a:pt x="2045" y="1484"/>
                    <a:pt x="2043" y="1488"/>
                  </a:cubicBezTo>
                  <a:cubicBezTo>
                    <a:pt x="2033" y="1512"/>
                    <a:pt x="1999" y="1584"/>
                    <a:pt x="1900" y="1698"/>
                  </a:cubicBezTo>
                  <a:cubicBezTo>
                    <a:pt x="1896" y="1694"/>
                    <a:pt x="1878" y="1677"/>
                    <a:pt x="1850" y="1650"/>
                  </a:cubicBezTo>
                  <a:cubicBezTo>
                    <a:pt x="1858" y="1634"/>
                    <a:pt x="1867" y="1617"/>
                    <a:pt x="1874" y="1600"/>
                  </a:cubicBezTo>
                  <a:cubicBezTo>
                    <a:pt x="1909" y="1520"/>
                    <a:pt x="1933" y="1428"/>
                    <a:pt x="1936" y="1358"/>
                  </a:cubicBezTo>
                  <a:cubicBezTo>
                    <a:pt x="1936" y="1357"/>
                    <a:pt x="1936" y="1357"/>
                    <a:pt x="1936" y="1356"/>
                  </a:cubicBezTo>
                  <a:cubicBezTo>
                    <a:pt x="1936" y="658"/>
                    <a:pt x="1936" y="658"/>
                    <a:pt x="1936" y="658"/>
                  </a:cubicBezTo>
                  <a:cubicBezTo>
                    <a:pt x="2058" y="526"/>
                    <a:pt x="2173" y="402"/>
                    <a:pt x="2271" y="298"/>
                  </a:cubicBezTo>
                  <a:cubicBezTo>
                    <a:pt x="2431" y="127"/>
                    <a:pt x="2480" y="24"/>
                    <a:pt x="2482" y="20"/>
                  </a:cubicBezTo>
                  <a:cubicBezTo>
                    <a:pt x="2492" y="0"/>
                    <a:pt x="2492" y="0"/>
                    <a:pt x="2492" y="0"/>
                  </a:cubicBezTo>
                  <a:cubicBezTo>
                    <a:pt x="2471" y="8"/>
                    <a:pt x="2471" y="8"/>
                    <a:pt x="2471" y="8"/>
                  </a:cubicBezTo>
                  <a:cubicBezTo>
                    <a:pt x="2466" y="10"/>
                    <a:pt x="2356" y="56"/>
                    <a:pt x="2150" y="243"/>
                  </a:cubicBezTo>
                  <a:cubicBezTo>
                    <a:pt x="2085" y="302"/>
                    <a:pt x="2012" y="368"/>
                    <a:pt x="1936" y="438"/>
                  </a:cubicBezTo>
                  <a:cubicBezTo>
                    <a:pt x="1936" y="425"/>
                    <a:pt x="1936" y="425"/>
                    <a:pt x="1936" y="425"/>
                  </a:cubicBezTo>
                  <a:cubicBezTo>
                    <a:pt x="1936" y="407"/>
                    <a:pt x="1922" y="392"/>
                    <a:pt x="1903" y="392"/>
                  </a:cubicBezTo>
                  <a:cubicBezTo>
                    <a:pt x="589" y="392"/>
                    <a:pt x="589" y="392"/>
                    <a:pt x="589" y="392"/>
                  </a:cubicBezTo>
                  <a:cubicBezTo>
                    <a:pt x="570" y="392"/>
                    <a:pt x="556" y="407"/>
                    <a:pt x="556" y="425"/>
                  </a:cubicBezTo>
                  <a:cubicBezTo>
                    <a:pt x="556" y="438"/>
                    <a:pt x="556" y="438"/>
                    <a:pt x="556" y="438"/>
                  </a:cubicBezTo>
                  <a:cubicBezTo>
                    <a:pt x="480" y="368"/>
                    <a:pt x="407" y="302"/>
                    <a:pt x="342" y="243"/>
                  </a:cubicBezTo>
                  <a:cubicBezTo>
                    <a:pt x="136" y="56"/>
                    <a:pt x="26" y="10"/>
                    <a:pt x="21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2" y="24"/>
                    <a:pt x="61" y="127"/>
                    <a:pt x="221" y="298"/>
                  </a:cubicBezTo>
                  <a:cubicBezTo>
                    <a:pt x="319" y="402"/>
                    <a:pt x="434" y="526"/>
                    <a:pt x="556" y="658"/>
                  </a:cubicBezTo>
                  <a:cubicBezTo>
                    <a:pt x="556" y="1356"/>
                    <a:pt x="556" y="1356"/>
                    <a:pt x="556" y="1356"/>
                  </a:cubicBezTo>
                  <a:cubicBezTo>
                    <a:pt x="556" y="1357"/>
                    <a:pt x="556" y="1357"/>
                    <a:pt x="556" y="1358"/>
                  </a:cubicBezTo>
                  <a:cubicBezTo>
                    <a:pt x="559" y="1428"/>
                    <a:pt x="583" y="1520"/>
                    <a:pt x="618" y="1600"/>
                  </a:cubicBezTo>
                  <a:cubicBezTo>
                    <a:pt x="625" y="1617"/>
                    <a:pt x="634" y="1634"/>
                    <a:pt x="642" y="1650"/>
                  </a:cubicBezTo>
                  <a:cubicBezTo>
                    <a:pt x="614" y="1677"/>
                    <a:pt x="597" y="1694"/>
                    <a:pt x="592" y="1698"/>
                  </a:cubicBezTo>
                  <a:cubicBezTo>
                    <a:pt x="493" y="1584"/>
                    <a:pt x="459" y="1512"/>
                    <a:pt x="449" y="1488"/>
                  </a:cubicBezTo>
                  <a:cubicBezTo>
                    <a:pt x="447" y="1484"/>
                    <a:pt x="443" y="1481"/>
                    <a:pt x="439" y="1481"/>
                  </a:cubicBezTo>
                  <a:cubicBezTo>
                    <a:pt x="438" y="1481"/>
                    <a:pt x="437" y="1482"/>
                    <a:pt x="436" y="1482"/>
                  </a:cubicBezTo>
                  <a:cubicBezTo>
                    <a:pt x="421" y="1487"/>
                    <a:pt x="386" y="1503"/>
                    <a:pt x="314" y="1549"/>
                  </a:cubicBezTo>
                  <a:cubicBezTo>
                    <a:pt x="308" y="1553"/>
                    <a:pt x="308" y="1563"/>
                    <a:pt x="314" y="1567"/>
                  </a:cubicBezTo>
                  <a:cubicBezTo>
                    <a:pt x="381" y="1609"/>
                    <a:pt x="504" y="1723"/>
                    <a:pt x="578" y="1795"/>
                  </a:cubicBezTo>
                  <a:cubicBezTo>
                    <a:pt x="577" y="1795"/>
                    <a:pt x="576" y="1796"/>
                    <a:pt x="575" y="1798"/>
                  </a:cubicBezTo>
                  <a:cubicBezTo>
                    <a:pt x="574" y="1799"/>
                    <a:pt x="574" y="1799"/>
                    <a:pt x="574" y="1799"/>
                  </a:cubicBezTo>
                  <a:cubicBezTo>
                    <a:pt x="567" y="1805"/>
                    <a:pt x="560" y="1812"/>
                    <a:pt x="553" y="1819"/>
                  </a:cubicBezTo>
                  <a:cubicBezTo>
                    <a:pt x="542" y="1830"/>
                    <a:pt x="530" y="1841"/>
                    <a:pt x="519" y="1853"/>
                  </a:cubicBezTo>
                  <a:cubicBezTo>
                    <a:pt x="519" y="1853"/>
                    <a:pt x="519" y="1853"/>
                    <a:pt x="519" y="1853"/>
                  </a:cubicBezTo>
                  <a:cubicBezTo>
                    <a:pt x="507" y="1864"/>
                    <a:pt x="496" y="1876"/>
                    <a:pt x="485" y="1888"/>
                  </a:cubicBezTo>
                  <a:cubicBezTo>
                    <a:pt x="474" y="1899"/>
                    <a:pt x="463" y="1911"/>
                    <a:pt x="451" y="1923"/>
                  </a:cubicBezTo>
                  <a:cubicBezTo>
                    <a:pt x="440" y="1935"/>
                    <a:pt x="429" y="1947"/>
                    <a:pt x="418" y="1959"/>
                  </a:cubicBezTo>
                  <a:cubicBezTo>
                    <a:pt x="407" y="1971"/>
                    <a:pt x="396" y="1983"/>
                    <a:pt x="385" y="1995"/>
                  </a:cubicBezTo>
                  <a:cubicBezTo>
                    <a:pt x="374" y="2007"/>
                    <a:pt x="363" y="2019"/>
                    <a:pt x="353" y="2031"/>
                  </a:cubicBezTo>
                  <a:cubicBezTo>
                    <a:pt x="341" y="2044"/>
                    <a:pt x="330" y="2056"/>
                    <a:pt x="320" y="2068"/>
                  </a:cubicBezTo>
                  <a:cubicBezTo>
                    <a:pt x="309" y="2081"/>
                    <a:pt x="298" y="2093"/>
                    <a:pt x="287" y="2105"/>
                  </a:cubicBezTo>
                  <a:cubicBezTo>
                    <a:pt x="287" y="2105"/>
                    <a:pt x="287" y="2105"/>
                    <a:pt x="287" y="2105"/>
                  </a:cubicBezTo>
                  <a:cubicBezTo>
                    <a:pt x="276" y="2118"/>
                    <a:pt x="265" y="2130"/>
                    <a:pt x="255" y="2142"/>
                  </a:cubicBezTo>
                  <a:cubicBezTo>
                    <a:pt x="242" y="2156"/>
                    <a:pt x="232" y="2169"/>
                    <a:pt x="223" y="2179"/>
                  </a:cubicBezTo>
                  <a:cubicBezTo>
                    <a:pt x="223" y="2179"/>
                    <a:pt x="223" y="2179"/>
                    <a:pt x="223" y="2179"/>
                  </a:cubicBezTo>
                  <a:cubicBezTo>
                    <a:pt x="213" y="2191"/>
                    <a:pt x="206" y="2199"/>
                    <a:pt x="203" y="2202"/>
                  </a:cubicBezTo>
                  <a:cubicBezTo>
                    <a:pt x="189" y="2198"/>
                    <a:pt x="174" y="2195"/>
                    <a:pt x="158" y="2195"/>
                  </a:cubicBezTo>
                  <a:cubicBezTo>
                    <a:pt x="122" y="2195"/>
                    <a:pt x="86" y="2209"/>
                    <a:pt x="59" y="2236"/>
                  </a:cubicBezTo>
                  <a:cubicBezTo>
                    <a:pt x="12" y="2283"/>
                    <a:pt x="5" y="2354"/>
                    <a:pt x="38" y="2408"/>
                  </a:cubicBezTo>
                  <a:cubicBezTo>
                    <a:pt x="38" y="2408"/>
                    <a:pt x="38" y="2408"/>
                    <a:pt x="38" y="2408"/>
                  </a:cubicBezTo>
                  <a:cubicBezTo>
                    <a:pt x="38" y="2408"/>
                    <a:pt x="38" y="2408"/>
                    <a:pt x="38" y="2408"/>
                  </a:cubicBezTo>
                  <a:cubicBezTo>
                    <a:pt x="44" y="2418"/>
                    <a:pt x="51" y="2427"/>
                    <a:pt x="59" y="2435"/>
                  </a:cubicBezTo>
                  <a:cubicBezTo>
                    <a:pt x="51" y="2427"/>
                    <a:pt x="44" y="2418"/>
                    <a:pt x="38" y="2408"/>
                  </a:cubicBezTo>
                  <a:cubicBezTo>
                    <a:pt x="28" y="2421"/>
                    <a:pt x="29" y="2440"/>
                    <a:pt x="41" y="2452"/>
                  </a:cubicBezTo>
                  <a:cubicBezTo>
                    <a:pt x="53" y="2464"/>
                    <a:pt x="71" y="2465"/>
                    <a:pt x="85" y="2455"/>
                  </a:cubicBezTo>
                  <a:cubicBezTo>
                    <a:pt x="107" y="2469"/>
                    <a:pt x="133" y="2476"/>
                    <a:pt x="158" y="2476"/>
                  </a:cubicBezTo>
                  <a:cubicBezTo>
                    <a:pt x="194" y="2476"/>
                    <a:pt x="230" y="2463"/>
                    <a:pt x="258" y="2435"/>
                  </a:cubicBezTo>
                  <a:cubicBezTo>
                    <a:pt x="300" y="2393"/>
                    <a:pt x="310" y="2330"/>
                    <a:pt x="286" y="2278"/>
                  </a:cubicBezTo>
                  <a:cubicBezTo>
                    <a:pt x="293" y="2273"/>
                    <a:pt x="305" y="2263"/>
                    <a:pt x="321" y="2249"/>
                  </a:cubicBezTo>
                  <a:cubicBezTo>
                    <a:pt x="331" y="2240"/>
                    <a:pt x="343" y="2229"/>
                    <a:pt x="357" y="2218"/>
                  </a:cubicBezTo>
                  <a:cubicBezTo>
                    <a:pt x="357" y="2218"/>
                    <a:pt x="357" y="2218"/>
                    <a:pt x="357" y="2218"/>
                  </a:cubicBezTo>
                  <a:cubicBezTo>
                    <a:pt x="368" y="2208"/>
                    <a:pt x="380" y="2198"/>
                    <a:pt x="392" y="2186"/>
                  </a:cubicBezTo>
                  <a:cubicBezTo>
                    <a:pt x="392" y="2186"/>
                    <a:pt x="392" y="2186"/>
                    <a:pt x="392" y="2186"/>
                  </a:cubicBezTo>
                  <a:cubicBezTo>
                    <a:pt x="404" y="2176"/>
                    <a:pt x="416" y="2166"/>
                    <a:pt x="428" y="2155"/>
                  </a:cubicBezTo>
                  <a:cubicBezTo>
                    <a:pt x="428" y="2155"/>
                    <a:pt x="428" y="2155"/>
                    <a:pt x="428" y="2155"/>
                  </a:cubicBezTo>
                  <a:cubicBezTo>
                    <a:pt x="439" y="2145"/>
                    <a:pt x="451" y="2134"/>
                    <a:pt x="463" y="2123"/>
                  </a:cubicBezTo>
                  <a:cubicBezTo>
                    <a:pt x="475" y="2113"/>
                    <a:pt x="487" y="2102"/>
                    <a:pt x="499" y="2092"/>
                  </a:cubicBezTo>
                  <a:cubicBezTo>
                    <a:pt x="510" y="2081"/>
                    <a:pt x="522" y="2070"/>
                    <a:pt x="534" y="2059"/>
                  </a:cubicBezTo>
                  <a:cubicBezTo>
                    <a:pt x="534" y="2059"/>
                    <a:pt x="534" y="2059"/>
                    <a:pt x="534" y="2059"/>
                  </a:cubicBezTo>
                  <a:cubicBezTo>
                    <a:pt x="546" y="2049"/>
                    <a:pt x="557" y="2038"/>
                    <a:pt x="569" y="2027"/>
                  </a:cubicBezTo>
                  <a:cubicBezTo>
                    <a:pt x="580" y="2016"/>
                    <a:pt x="592" y="2005"/>
                    <a:pt x="603" y="1994"/>
                  </a:cubicBezTo>
                  <a:cubicBezTo>
                    <a:pt x="615" y="1982"/>
                    <a:pt x="627" y="1971"/>
                    <a:pt x="638" y="1960"/>
                  </a:cubicBezTo>
                  <a:cubicBezTo>
                    <a:pt x="638" y="1960"/>
                    <a:pt x="638" y="1960"/>
                    <a:pt x="638" y="1960"/>
                  </a:cubicBezTo>
                  <a:cubicBezTo>
                    <a:pt x="650" y="1948"/>
                    <a:pt x="661" y="1937"/>
                    <a:pt x="672" y="1926"/>
                  </a:cubicBezTo>
                  <a:cubicBezTo>
                    <a:pt x="677" y="1921"/>
                    <a:pt x="681" y="1916"/>
                    <a:pt x="687" y="1910"/>
                  </a:cubicBezTo>
                  <a:cubicBezTo>
                    <a:pt x="688" y="1908"/>
                    <a:pt x="689" y="1907"/>
                    <a:pt x="690" y="1906"/>
                  </a:cubicBezTo>
                  <a:cubicBezTo>
                    <a:pt x="760" y="1979"/>
                    <a:pt x="883" y="2110"/>
                    <a:pt x="927" y="2179"/>
                  </a:cubicBezTo>
                  <a:cubicBezTo>
                    <a:pt x="929" y="2183"/>
                    <a:pt x="932" y="2184"/>
                    <a:pt x="936" y="2184"/>
                  </a:cubicBezTo>
                  <a:cubicBezTo>
                    <a:pt x="939" y="2184"/>
                    <a:pt x="943" y="2183"/>
                    <a:pt x="945" y="2179"/>
                  </a:cubicBezTo>
                  <a:cubicBezTo>
                    <a:pt x="991" y="2107"/>
                    <a:pt x="1006" y="2073"/>
                    <a:pt x="1012" y="2058"/>
                  </a:cubicBezTo>
                  <a:cubicBezTo>
                    <a:pt x="1014" y="2053"/>
                    <a:pt x="1011" y="2047"/>
                    <a:pt x="1006" y="2045"/>
                  </a:cubicBezTo>
                  <a:cubicBezTo>
                    <a:pt x="981" y="2035"/>
                    <a:pt x="906" y="1999"/>
                    <a:pt x="786" y="1893"/>
                  </a:cubicBezTo>
                  <a:cubicBezTo>
                    <a:pt x="792" y="1887"/>
                    <a:pt x="801" y="1879"/>
                    <a:pt x="811" y="1869"/>
                  </a:cubicBezTo>
                  <a:cubicBezTo>
                    <a:pt x="899" y="1949"/>
                    <a:pt x="1029" y="2046"/>
                    <a:pt x="1242" y="2069"/>
                  </a:cubicBezTo>
                  <a:cubicBezTo>
                    <a:pt x="1244" y="2069"/>
                    <a:pt x="1245" y="2069"/>
                    <a:pt x="1246" y="2069"/>
                  </a:cubicBezTo>
                  <a:cubicBezTo>
                    <a:pt x="1247" y="2069"/>
                    <a:pt x="1248" y="2069"/>
                    <a:pt x="1250" y="2069"/>
                  </a:cubicBezTo>
                  <a:cubicBezTo>
                    <a:pt x="1463" y="2046"/>
                    <a:pt x="1592" y="1949"/>
                    <a:pt x="1681" y="1869"/>
                  </a:cubicBezTo>
                  <a:cubicBezTo>
                    <a:pt x="1691" y="1879"/>
                    <a:pt x="1700" y="1887"/>
                    <a:pt x="1706" y="1893"/>
                  </a:cubicBezTo>
                  <a:cubicBezTo>
                    <a:pt x="1586" y="1999"/>
                    <a:pt x="1511" y="2035"/>
                    <a:pt x="1486" y="2045"/>
                  </a:cubicBezTo>
                  <a:cubicBezTo>
                    <a:pt x="1481" y="2047"/>
                    <a:pt x="1478" y="2053"/>
                    <a:pt x="1480" y="2058"/>
                  </a:cubicBezTo>
                  <a:cubicBezTo>
                    <a:pt x="1486" y="2073"/>
                    <a:pt x="1501" y="2107"/>
                    <a:pt x="1547" y="2179"/>
                  </a:cubicBezTo>
                  <a:cubicBezTo>
                    <a:pt x="1549" y="2183"/>
                    <a:pt x="1553" y="2184"/>
                    <a:pt x="1556" y="2184"/>
                  </a:cubicBezTo>
                  <a:cubicBezTo>
                    <a:pt x="1560" y="2184"/>
                    <a:pt x="1563" y="2183"/>
                    <a:pt x="1565" y="2179"/>
                  </a:cubicBezTo>
                  <a:cubicBezTo>
                    <a:pt x="1609" y="2110"/>
                    <a:pt x="1732" y="1979"/>
                    <a:pt x="1802" y="1906"/>
                  </a:cubicBezTo>
                  <a:cubicBezTo>
                    <a:pt x="1803" y="1907"/>
                    <a:pt x="1804" y="1909"/>
                    <a:pt x="1806" y="1911"/>
                  </a:cubicBezTo>
                  <a:cubicBezTo>
                    <a:pt x="1811" y="1916"/>
                    <a:pt x="1815" y="1921"/>
                    <a:pt x="1820" y="1926"/>
                  </a:cubicBezTo>
                  <a:cubicBezTo>
                    <a:pt x="1831" y="1937"/>
                    <a:pt x="1842" y="1948"/>
                    <a:pt x="1854" y="1960"/>
                  </a:cubicBezTo>
                  <a:cubicBezTo>
                    <a:pt x="1854" y="1960"/>
                    <a:pt x="1854" y="1960"/>
                    <a:pt x="1854" y="1960"/>
                  </a:cubicBezTo>
                  <a:cubicBezTo>
                    <a:pt x="1865" y="1971"/>
                    <a:pt x="1877" y="1982"/>
                    <a:pt x="1889" y="1994"/>
                  </a:cubicBezTo>
                  <a:cubicBezTo>
                    <a:pt x="1900" y="2005"/>
                    <a:pt x="1912" y="2016"/>
                    <a:pt x="1923" y="2027"/>
                  </a:cubicBezTo>
                  <a:cubicBezTo>
                    <a:pt x="1935" y="2038"/>
                    <a:pt x="1946" y="2049"/>
                    <a:pt x="1958" y="2059"/>
                  </a:cubicBezTo>
                  <a:cubicBezTo>
                    <a:pt x="1958" y="2059"/>
                    <a:pt x="1958" y="2059"/>
                    <a:pt x="1958" y="2059"/>
                  </a:cubicBezTo>
                  <a:cubicBezTo>
                    <a:pt x="1970" y="2070"/>
                    <a:pt x="1982" y="2081"/>
                    <a:pt x="1993" y="2092"/>
                  </a:cubicBezTo>
                  <a:cubicBezTo>
                    <a:pt x="2005" y="2102"/>
                    <a:pt x="2017" y="2113"/>
                    <a:pt x="2029" y="2123"/>
                  </a:cubicBezTo>
                  <a:cubicBezTo>
                    <a:pt x="2041" y="2134"/>
                    <a:pt x="2053" y="2145"/>
                    <a:pt x="2064" y="2155"/>
                  </a:cubicBezTo>
                  <a:cubicBezTo>
                    <a:pt x="2064" y="2155"/>
                    <a:pt x="2064" y="2155"/>
                    <a:pt x="2064" y="2155"/>
                  </a:cubicBezTo>
                  <a:cubicBezTo>
                    <a:pt x="2076" y="2166"/>
                    <a:pt x="2088" y="2176"/>
                    <a:pt x="2100" y="2186"/>
                  </a:cubicBezTo>
                  <a:cubicBezTo>
                    <a:pt x="2100" y="2186"/>
                    <a:pt x="2100" y="2186"/>
                    <a:pt x="2100" y="2186"/>
                  </a:cubicBezTo>
                  <a:cubicBezTo>
                    <a:pt x="2112" y="2198"/>
                    <a:pt x="2124" y="2208"/>
                    <a:pt x="2135" y="2218"/>
                  </a:cubicBezTo>
                  <a:cubicBezTo>
                    <a:pt x="2135" y="2218"/>
                    <a:pt x="2135" y="2218"/>
                    <a:pt x="2135" y="2218"/>
                  </a:cubicBezTo>
                  <a:cubicBezTo>
                    <a:pt x="2149" y="2229"/>
                    <a:pt x="2161" y="2240"/>
                    <a:pt x="2171" y="2249"/>
                  </a:cubicBezTo>
                  <a:cubicBezTo>
                    <a:pt x="2187" y="2262"/>
                    <a:pt x="2199" y="2273"/>
                    <a:pt x="2206" y="2278"/>
                  </a:cubicBezTo>
                  <a:cubicBezTo>
                    <a:pt x="2182" y="2330"/>
                    <a:pt x="2192" y="2393"/>
                    <a:pt x="2234" y="2435"/>
                  </a:cubicBezTo>
                  <a:cubicBezTo>
                    <a:pt x="2262" y="2463"/>
                    <a:pt x="2298" y="2476"/>
                    <a:pt x="2334" y="2476"/>
                  </a:cubicBezTo>
                  <a:cubicBezTo>
                    <a:pt x="2359" y="2476"/>
                    <a:pt x="2384" y="2470"/>
                    <a:pt x="2406" y="2456"/>
                  </a:cubicBezTo>
                  <a:cubicBezTo>
                    <a:pt x="2419" y="2466"/>
                    <a:pt x="2438" y="2464"/>
                    <a:pt x="2450" y="2453"/>
                  </a:cubicBezTo>
                  <a:cubicBezTo>
                    <a:pt x="2462" y="2441"/>
                    <a:pt x="2463" y="2422"/>
                    <a:pt x="2453" y="2409"/>
                  </a:cubicBezTo>
                  <a:cubicBezTo>
                    <a:pt x="2454" y="2409"/>
                    <a:pt x="2454" y="2408"/>
                    <a:pt x="2454" y="2408"/>
                  </a:cubicBezTo>
                  <a:cubicBezTo>
                    <a:pt x="2487" y="2354"/>
                    <a:pt x="2480" y="2283"/>
                    <a:pt x="2433" y="2236"/>
                  </a:cubicBezTo>
                  <a:close/>
                  <a:moveTo>
                    <a:pt x="1936" y="585"/>
                  </a:moveTo>
                  <a:cubicBezTo>
                    <a:pt x="2043" y="473"/>
                    <a:pt x="2043" y="473"/>
                    <a:pt x="2043" y="473"/>
                  </a:cubicBezTo>
                  <a:cubicBezTo>
                    <a:pt x="1936" y="583"/>
                    <a:pt x="1936" y="583"/>
                    <a:pt x="1936" y="583"/>
                  </a:cubicBezTo>
                  <a:cubicBezTo>
                    <a:pt x="1936" y="504"/>
                    <a:pt x="1936" y="504"/>
                    <a:pt x="1936" y="504"/>
                  </a:cubicBezTo>
                  <a:cubicBezTo>
                    <a:pt x="2026" y="414"/>
                    <a:pt x="2026" y="414"/>
                    <a:pt x="2026" y="414"/>
                  </a:cubicBezTo>
                  <a:cubicBezTo>
                    <a:pt x="1936" y="501"/>
                    <a:pt x="1936" y="501"/>
                    <a:pt x="1936" y="501"/>
                  </a:cubicBezTo>
                  <a:cubicBezTo>
                    <a:pt x="1936" y="462"/>
                    <a:pt x="1936" y="462"/>
                    <a:pt x="1936" y="462"/>
                  </a:cubicBezTo>
                  <a:cubicBezTo>
                    <a:pt x="2017" y="388"/>
                    <a:pt x="2093" y="318"/>
                    <a:pt x="2162" y="256"/>
                  </a:cubicBezTo>
                  <a:cubicBezTo>
                    <a:pt x="2310" y="121"/>
                    <a:pt x="2410" y="60"/>
                    <a:pt x="2453" y="37"/>
                  </a:cubicBezTo>
                  <a:cubicBezTo>
                    <a:pt x="2430" y="77"/>
                    <a:pt x="2372" y="164"/>
                    <a:pt x="2258" y="286"/>
                  </a:cubicBezTo>
                  <a:cubicBezTo>
                    <a:pt x="2164" y="387"/>
                    <a:pt x="2053" y="505"/>
                    <a:pt x="1936" y="632"/>
                  </a:cubicBezTo>
                  <a:lnTo>
                    <a:pt x="1936" y="585"/>
                  </a:lnTo>
                  <a:close/>
                  <a:moveTo>
                    <a:pt x="556" y="501"/>
                  </a:moveTo>
                  <a:cubicBezTo>
                    <a:pt x="466" y="414"/>
                    <a:pt x="466" y="414"/>
                    <a:pt x="466" y="414"/>
                  </a:cubicBezTo>
                  <a:cubicBezTo>
                    <a:pt x="556" y="504"/>
                    <a:pt x="556" y="504"/>
                    <a:pt x="556" y="504"/>
                  </a:cubicBezTo>
                  <a:cubicBezTo>
                    <a:pt x="556" y="583"/>
                    <a:pt x="556" y="583"/>
                    <a:pt x="556" y="583"/>
                  </a:cubicBezTo>
                  <a:cubicBezTo>
                    <a:pt x="449" y="473"/>
                    <a:pt x="449" y="473"/>
                    <a:pt x="449" y="473"/>
                  </a:cubicBezTo>
                  <a:cubicBezTo>
                    <a:pt x="556" y="585"/>
                    <a:pt x="556" y="585"/>
                    <a:pt x="556" y="585"/>
                  </a:cubicBezTo>
                  <a:cubicBezTo>
                    <a:pt x="556" y="632"/>
                    <a:pt x="556" y="632"/>
                    <a:pt x="556" y="632"/>
                  </a:cubicBezTo>
                  <a:cubicBezTo>
                    <a:pt x="439" y="505"/>
                    <a:pt x="328" y="387"/>
                    <a:pt x="234" y="286"/>
                  </a:cubicBezTo>
                  <a:cubicBezTo>
                    <a:pt x="120" y="164"/>
                    <a:pt x="62" y="77"/>
                    <a:pt x="39" y="37"/>
                  </a:cubicBezTo>
                  <a:cubicBezTo>
                    <a:pt x="82" y="60"/>
                    <a:pt x="182" y="121"/>
                    <a:pt x="330" y="256"/>
                  </a:cubicBezTo>
                  <a:cubicBezTo>
                    <a:pt x="399" y="318"/>
                    <a:pt x="475" y="388"/>
                    <a:pt x="556" y="462"/>
                  </a:cubicBezTo>
                  <a:lnTo>
                    <a:pt x="556" y="501"/>
                  </a:lnTo>
                  <a:close/>
                  <a:moveTo>
                    <a:pt x="2264" y="2200"/>
                  </a:moveTo>
                  <a:cubicBezTo>
                    <a:pt x="2267" y="2204"/>
                    <a:pt x="2270" y="2207"/>
                    <a:pt x="2272" y="2209"/>
                  </a:cubicBezTo>
                  <a:cubicBezTo>
                    <a:pt x="2271" y="2210"/>
                    <a:pt x="2271" y="2210"/>
                    <a:pt x="2271" y="2210"/>
                  </a:cubicBezTo>
                  <a:cubicBezTo>
                    <a:pt x="2265" y="2213"/>
                    <a:pt x="2258" y="2217"/>
                    <a:pt x="2252" y="2221"/>
                  </a:cubicBezTo>
                  <a:lnTo>
                    <a:pt x="2264" y="2200"/>
                  </a:lnTo>
                  <a:close/>
                  <a:moveTo>
                    <a:pt x="1883" y="1706"/>
                  </a:moveTo>
                  <a:cubicBezTo>
                    <a:pt x="1866" y="1728"/>
                    <a:pt x="1853" y="1743"/>
                    <a:pt x="1843" y="1756"/>
                  </a:cubicBezTo>
                  <a:cubicBezTo>
                    <a:pt x="1809" y="1722"/>
                    <a:pt x="1809" y="1722"/>
                    <a:pt x="1809" y="1722"/>
                  </a:cubicBezTo>
                  <a:cubicBezTo>
                    <a:pt x="1820" y="1705"/>
                    <a:pt x="1831" y="1686"/>
                    <a:pt x="1841" y="1666"/>
                  </a:cubicBezTo>
                  <a:cubicBezTo>
                    <a:pt x="1861" y="1686"/>
                    <a:pt x="1876" y="1699"/>
                    <a:pt x="1883" y="1706"/>
                  </a:cubicBezTo>
                  <a:close/>
                  <a:moveTo>
                    <a:pt x="1822" y="1779"/>
                  </a:moveTo>
                  <a:cubicBezTo>
                    <a:pt x="1822" y="1780"/>
                    <a:pt x="1822" y="1780"/>
                    <a:pt x="1822" y="1780"/>
                  </a:cubicBezTo>
                  <a:cubicBezTo>
                    <a:pt x="1804" y="1798"/>
                    <a:pt x="1789" y="1813"/>
                    <a:pt x="1768" y="1831"/>
                  </a:cubicBezTo>
                  <a:cubicBezTo>
                    <a:pt x="1745" y="1807"/>
                    <a:pt x="1745" y="1807"/>
                    <a:pt x="1745" y="1807"/>
                  </a:cubicBezTo>
                  <a:cubicBezTo>
                    <a:pt x="1760" y="1791"/>
                    <a:pt x="1776" y="1771"/>
                    <a:pt x="1791" y="1748"/>
                  </a:cubicBezTo>
                  <a:lnTo>
                    <a:pt x="1822" y="1779"/>
                  </a:lnTo>
                  <a:close/>
                  <a:moveTo>
                    <a:pt x="651" y="1667"/>
                  </a:moveTo>
                  <a:cubicBezTo>
                    <a:pt x="661" y="1686"/>
                    <a:pt x="672" y="1705"/>
                    <a:pt x="683" y="1722"/>
                  </a:cubicBezTo>
                  <a:cubicBezTo>
                    <a:pt x="649" y="1756"/>
                    <a:pt x="649" y="1756"/>
                    <a:pt x="649" y="1756"/>
                  </a:cubicBezTo>
                  <a:cubicBezTo>
                    <a:pt x="639" y="1743"/>
                    <a:pt x="626" y="1728"/>
                    <a:pt x="609" y="1706"/>
                  </a:cubicBezTo>
                  <a:cubicBezTo>
                    <a:pt x="616" y="1699"/>
                    <a:pt x="631" y="1686"/>
                    <a:pt x="651" y="1667"/>
                  </a:cubicBezTo>
                  <a:close/>
                  <a:moveTo>
                    <a:pt x="701" y="1748"/>
                  </a:moveTo>
                  <a:cubicBezTo>
                    <a:pt x="716" y="1771"/>
                    <a:pt x="732" y="1791"/>
                    <a:pt x="747" y="1808"/>
                  </a:cubicBezTo>
                  <a:cubicBezTo>
                    <a:pt x="724" y="1831"/>
                    <a:pt x="724" y="1831"/>
                    <a:pt x="724" y="1831"/>
                  </a:cubicBezTo>
                  <a:cubicBezTo>
                    <a:pt x="703" y="1813"/>
                    <a:pt x="688" y="1798"/>
                    <a:pt x="670" y="1780"/>
                  </a:cubicBezTo>
                  <a:cubicBezTo>
                    <a:pt x="670" y="1779"/>
                    <a:pt x="670" y="1779"/>
                    <a:pt x="670" y="1779"/>
                  </a:cubicBezTo>
                  <a:lnTo>
                    <a:pt x="701" y="1748"/>
                  </a:lnTo>
                  <a:close/>
                  <a:moveTo>
                    <a:pt x="228" y="2200"/>
                  </a:moveTo>
                  <a:cubicBezTo>
                    <a:pt x="240" y="2221"/>
                    <a:pt x="240" y="2221"/>
                    <a:pt x="240" y="2221"/>
                  </a:cubicBezTo>
                  <a:cubicBezTo>
                    <a:pt x="234" y="2217"/>
                    <a:pt x="227" y="2213"/>
                    <a:pt x="220" y="2210"/>
                  </a:cubicBezTo>
                  <a:cubicBezTo>
                    <a:pt x="220" y="2209"/>
                    <a:pt x="220" y="2209"/>
                    <a:pt x="220" y="2209"/>
                  </a:cubicBezTo>
                  <a:cubicBezTo>
                    <a:pt x="222" y="2207"/>
                    <a:pt x="225" y="2204"/>
                    <a:pt x="228" y="2200"/>
                  </a:cubicBezTo>
                  <a:close/>
                  <a:moveTo>
                    <a:pt x="245" y="2423"/>
                  </a:moveTo>
                  <a:cubicBezTo>
                    <a:pt x="222" y="2446"/>
                    <a:pt x="191" y="2459"/>
                    <a:pt x="158" y="2459"/>
                  </a:cubicBezTo>
                  <a:cubicBezTo>
                    <a:pt x="136" y="2459"/>
                    <a:pt x="113" y="2452"/>
                    <a:pt x="94" y="2440"/>
                  </a:cubicBezTo>
                  <a:cubicBezTo>
                    <a:pt x="86" y="2435"/>
                    <a:pt x="78" y="2429"/>
                    <a:pt x="71" y="2423"/>
                  </a:cubicBezTo>
                  <a:cubicBezTo>
                    <a:pt x="64" y="2415"/>
                    <a:pt x="58" y="2408"/>
                    <a:pt x="53" y="2399"/>
                  </a:cubicBezTo>
                  <a:cubicBezTo>
                    <a:pt x="24" y="2351"/>
                    <a:pt x="31" y="2289"/>
                    <a:pt x="71" y="2249"/>
                  </a:cubicBezTo>
                  <a:cubicBezTo>
                    <a:pt x="95" y="2225"/>
                    <a:pt x="126" y="2213"/>
                    <a:pt x="158" y="2213"/>
                  </a:cubicBezTo>
                  <a:cubicBezTo>
                    <a:pt x="174" y="2213"/>
                    <a:pt x="190" y="2216"/>
                    <a:pt x="204" y="2222"/>
                  </a:cubicBezTo>
                  <a:cubicBezTo>
                    <a:pt x="268" y="2285"/>
                    <a:pt x="268" y="2285"/>
                    <a:pt x="268" y="2285"/>
                  </a:cubicBezTo>
                  <a:cubicBezTo>
                    <a:pt x="269" y="2286"/>
                    <a:pt x="270" y="2287"/>
                    <a:pt x="272" y="2288"/>
                  </a:cubicBezTo>
                  <a:cubicBezTo>
                    <a:pt x="291" y="2334"/>
                    <a:pt x="281" y="2387"/>
                    <a:pt x="245" y="2423"/>
                  </a:cubicBezTo>
                  <a:close/>
                  <a:moveTo>
                    <a:pt x="282" y="2259"/>
                  </a:moveTo>
                  <a:cubicBezTo>
                    <a:pt x="240" y="2186"/>
                    <a:pt x="240" y="2186"/>
                    <a:pt x="240" y="2186"/>
                  </a:cubicBezTo>
                  <a:cubicBezTo>
                    <a:pt x="246" y="2179"/>
                    <a:pt x="253" y="2171"/>
                    <a:pt x="260" y="2163"/>
                  </a:cubicBezTo>
                  <a:cubicBezTo>
                    <a:pt x="298" y="2229"/>
                    <a:pt x="298" y="2229"/>
                    <a:pt x="298" y="2229"/>
                  </a:cubicBezTo>
                  <a:cubicBezTo>
                    <a:pt x="304" y="2240"/>
                    <a:pt x="304" y="2240"/>
                    <a:pt x="304" y="2240"/>
                  </a:cubicBezTo>
                  <a:cubicBezTo>
                    <a:pt x="295" y="2248"/>
                    <a:pt x="287" y="2254"/>
                    <a:pt x="282" y="2259"/>
                  </a:cubicBezTo>
                  <a:close/>
                  <a:moveTo>
                    <a:pt x="318" y="2228"/>
                  </a:moveTo>
                  <a:cubicBezTo>
                    <a:pt x="299" y="2195"/>
                    <a:pt x="299" y="2195"/>
                    <a:pt x="299" y="2195"/>
                  </a:cubicBezTo>
                  <a:cubicBezTo>
                    <a:pt x="273" y="2149"/>
                    <a:pt x="273" y="2149"/>
                    <a:pt x="273" y="2149"/>
                  </a:cubicBezTo>
                  <a:cubicBezTo>
                    <a:pt x="279" y="2141"/>
                    <a:pt x="286" y="2134"/>
                    <a:pt x="293" y="2126"/>
                  </a:cubicBezTo>
                  <a:cubicBezTo>
                    <a:pt x="340" y="2209"/>
                    <a:pt x="340" y="2209"/>
                    <a:pt x="340" y="2209"/>
                  </a:cubicBezTo>
                  <a:cubicBezTo>
                    <a:pt x="332" y="2216"/>
                    <a:pt x="324" y="2222"/>
                    <a:pt x="318" y="2228"/>
                  </a:cubicBezTo>
                  <a:close/>
                  <a:moveTo>
                    <a:pt x="353" y="2197"/>
                  </a:moveTo>
                  <a:cubicBezTo>
                    <a:pt x="305" y="2111"/>
                    <a:pt x="305" y="2111"/>
                    <a:pt x="305" y="2111"/>
                  </a:cubicBezTo>
                  <a:cubicBezTo>
                    <a:pt x="311" y="2104"/>
                    <a:pt x="318" y="2096"/>
                    <a:pt x="325" y="2089"/>
                  </a:cubicBezTo>
                  <a:cubicBezTo>
                    <a:pt x="375" y="2178"/>
                    <a:pt x="375" y="2178"/>
                    <a:pt x="375" y="2178"/>
                  </a:cubicBezTo>
                  <a:cubicBezTo>
                    <a:pt x="368" y="2185"/>
                    <a:pt x="360" y="2191"/>
                    <a:pt x="353" y="2197"/>
                  </a:cubicBezTo>
                  <a:close/>
                  <a:moveTo>
                    <a:pt x="389" y="2166"/>
                  </a:moveTo>
                  <a:cubicBezTo>
                    <a:pt x="343" y="2085"/>
                    <a:pt x="343" y="2085"/>
                    <a:pt x="343" y="2085"/>
                  </a:cubicBezTo>
                  <a:cubicBezTo>
                    <a:pt x="337" y="2075"/>
                    <a:pt x="337" y="2075"/>
                    <a:pt x="337" y="2075"/>
                  </a:cubicBezTo>
                  <a:cubicBezTo>
                    <a:pt x="344" y="2067"/>
                    <a:pt x="351" y="2060"/>
                    <a:pt x="357" y="2052"/>
                  </a:cubicBezTo>
                  <a:cubicBezTo>
                    <a:pt x="411" y="2147"/>
                    <a:pt x="411" y="2147"/>
                    <a:pt x="411" y="2147"/>
                  </a:cubicBezTo>
                  <a:cubicBezTo>
                    <a:pt x="403" y="2153"/>
                    <a:pt x="396" y="2160"/>
                    <a:pt x="389" y="2166"/>
                  </a:cubicBezTo>
                  <a:close/>
                  <a:moveTo>
                    <a:pt x="424" y="2135"/>
                  </a:moveTo>
                  <a:cubicBezTo>
                    <a:pt x="370" y="2038"/>
                    <a:pt x="370" y="2038"/>
                    <a:pt x="370" y="2038"/>
                  </a:cubicBezTo>
                  <a:cubicBezTo>
                    <a:pt x="377" y="2031"/>
                    <a:pt x="383" y="2023"/>
                    <a:pt x="390" y="2016"/>
                  </a:cubicBezTo>
                  <a:cubicBezTo>
                    <a:pt x="446" y="2115"/>
                    <a:pt x="446" y="2115"/>
                    <a:pt x="446" y="2115"/>
                  </a:cubicBezTo>
                  <a:cubicBezTo>
                    <a:pt x="439" y="2122"/>
                    <a:pt x="432" y="2128"/>
                    <a:pt x="424" y="2135"/>
                  </a:cubicBezTo>
                  <a:close/>
                  <a:moveTo>
                    <a:pt x="460" y="2103"/>
                  </a:moveTo>
                  <a:cubicBezTo>
                    <a:pt x="403" y="2002"/>
                    <a:pt x="403" y="2002"/>
                    <a:pt x="403" y="2002"/>
                  </a:cubicBezTo>
                  <a:cubicBezTo>
                    <a:pt x="409" y="1994"/>
                    <a:pt x="416" y="1987"/>
                    <a:pt x="423" y="1979"/>
                  </a:cubicBezTo>
                  <a:cubicBezTo>
                    <a:pt x="482" y="2083"/>
                    <a:pt x="482" y="2083"/>
                    <a:pt x="482" y="2083"/>
                  </a:cubicBezTo>
                  <a:cubicBezTo>
                    <a:pt x="474" y="2090"/>
                    <a:pt x="467" y="2096"/>
                    <a:pt x="460" y="2103"/>
                  </a:cubicBezTo>
                  <a:close/>
                  <a:moveTo>
                    <a:pt x="495" y="2071"/>
                  </a:moveTo>
                  <a:cubicBezTo>
                    <a:pt x="435" y="1966"/>
                    <a:pt x="435" y="1966"/>
                    <a:pt x="435" y="1966"/>
                  </a:cubicBezTo>
                  <a:cubicBezTo>
                    <a:pt x="442" y="1958"/>
                    <a:pt x="449" y="1951"/>
                    <a:pt x="456" y="1944"/>
                  </a:cubicBezTo>
                  <a:cubicBezTo>
                    <a:pt x="497" y="2016"/>
                    <a:pt x="497" y="2016"/>
                    <a:pt x="497" y="2016"/>
                  </a:cubicBezTo>
                  <a:cubicBezTo>
                    <a:pt x="517" y="2051"/>
                    <a:pt x="517" y="2051"/>
                    <a:pt x="517" y="2051"/>
                  </a:cubicBezTo>
                  <a:cubicBezTo>
                    <a:pt x="509" y="2058"/>
                    <a:pt x="502" y="2064"/>
                    <a:pt x="495" y="2071"/>
                  </a:cubicBezTo>
                  <a:close/>
                  <a:moveTo>
                    <a:pt x="530" y="2039"/>
                  </a:moveTo>
                  <a:cubicBezTo>
                    <a:pt x="511" y="2005"/>
                    <a:pt x="511" y="2005"/>
                    <a:pt x="511" y="2005"/>
                  </a:cubicBezTo>
                  <a:cubicBezTo>
                    <a:pt x="469" y="1930"/>
                    <a:pt x="469" y="1930"/>
                    <a:pt x="469" y="1930"/>
                  </a:cubicBezTo>
                  <a:cubicBezTo>
                    <a:pt x="476" y="1923"/>
                    <a:pt x="482" y="1916"/>
                    <a:pt x="489" y="1908"/>
                  </a:cubicBezTo>
                  <a:cubicBezTo>
                    <a:pt x="552" y="2019"/>
                    <a:pt x="552" y="2019"/>
                    <a:pt x="552" y="2019"/>
                  </a:cubicBezTo>
                  <a:cubicBezTo>
                    <a:pt x="544" y="2025"/>
                    <a:pt x="537" y="2032"/>
                    <a:pt x="530" y="2039"/>
                  </a:cubicBezTo>
                  <a:close/>
                  <a:moveTo>
                    <a:pt x="565" y="2006"/>
                  </a:moveTo>
                  <a:cubicBezTo>
                    <a:pt x="502" y="1895"/>
                    <a:pt x="502" y="1895"/>
                    <a:pt x="502" y="1895"/>
                  </a:cubicBezTo>
                  <a:cubicBezTo>
                    <a:pt x="509" y="1888"/>
                    <a:pt x="516" y="1881"/>
                    <a:pt x="523" y="1874"/>
                  </a:cubicBezTo>
                  <a:cubicBezTo>
                    <a:pt x="575" y="1966"/>
                    <a:pt x="575" y="1966"/>
                    <a:pt x="575" y="1966"/>
                  </a:cubicBezTo>
                  <a:cubicBezTo>
                    <a:pt x="586" y="1986"/>
                    <a:pt x="586" y="1986"/>
                    <a:pt x="586" y="1986"/>
                  </a:cubicBezTo>
                  <a:cubicBezTo>
                    <a:pt x="579" y="1993"/>
                    <a:pt x="572" y="1999"/>
                    <a:pt x="565" y="2006"/>
                  </a:cubicBezTo>
                  <a:close/>
                  <a:moveTo>
                    <a:pt x="599" y="1973"/>
                  </a:moveTo>
                  <a:cubicBezTo>
                    <a:pt x="565" y="1912"/>
                    <a:pt x="565" y="1912"/>
                    <a:pt x="565" y="1912"/>
                  </a:cubicBezTo>
                  <a:cubicBezTo>
                    <a:pt x="536" y="1861"/>
                    <a:pt x="536" y="1861"/>
                    <a:pt x="536" y="1861"/>
                  </a:cubicBezTo>
                  <a:cubicBezTo>
                    <a:pt x="543" y="1853"/>
                    <a:pt x="550" y="1846"/>
                    <a:pt x="557" y="1840"/>
                  </a:cubicBezTo>
                  <a:cubicBezTo>
                    <a:pt x="621" y="1952"/>
                    <a:pt x="621" y="1952"/>
                    <a:pt x="621" y="1952"/>
                  </a:cubicBezTo>
                  <a:cubicBezTo>
                    <a:pt x="614" y="1959"/>
                    <a:pt x="607" y="1966"/>
                    <a:pt x="599" y="1973"/>
                  </a:cubicBezTo>
                  <a:close/>
                  <a:moveTo>
                    <a:pt x="634" y="1940"/>
                  </a:moveTo>
                  <a:cubicBezTo>
                    <a:pt x="570" y="1827"/>
                    <a:pt x="570" y="1827"/>
                    <a:pt x="570" y="1827"/>
                  </a:cubicBezTo>
                  <a:cubicBezTo>
                    <a:pt x="575" y="1822"/>
                    <a:pt x="581" y="1817"/>
                    <a:pt x="586" y="1812"/>
                  </a:cubicBezTo>
                  <a:cubicBezTo>
                    <a:pt x="586" y="1812"/>
                    <a:pt x="586" y="1812"/>
                    <a:pt x="586" y="1812"/>
                  </a:cubicBezTo>
                  <a:cubicBezTo>
                    <a:pt x="587" y="1811"/>
                    <a:pt x="587" y="1811"/>
                    <a:pt x="587" y="1811"/>
                  </a:cubicBezTo>
                  <a:cubicBezTo>
                    <a:pt x="587" y="1811"/>
                    <a:pt x="587" y="1810"/>
                    <a:pt x="587" y="1810"/>
                  </a:cubicBezTo>
                  <a:cubicBezTo>
                    <a:pt x="654" y="1918"/>
                    <a:pt x="654" y="1918"/>
                    <a:pt x="654" y="1918"/>
                  </a:cubicBezTo>
                  <a:cubicBezTo>
                    <a:pt x="648" y="1925"/>
                    <a:pt x="641" y="1932"/>
                    <a:pt x="634" y="1940"/>
                  </a:cubicBezTo>
                  <a:close/>
                  <a:moveTo>
                    <a:pt x="673" y="1899"/>
                  </a:moveTo>
                  <a:cubicBezTo>
                    <a:pt x="671" y="1901"/>
                    <a:pt x="669" y="1903"/>
                    <a:pt x="667" y="1905"/>
                  </a:cubicBezTo>
                  <a:cubicBezTo>
                    <a:pt x="630" y="1846"/>
                    <a:pt x="630" y="1846"/>
                    <a:pt x="630" y="1846"/>
                  </a:cubicBezTo>
                  <a:cubicBezTo>
                    <a:pt x="632" y="1848"/>
                    <a:pt x="633" y="1849"/>
                    <a:pt x="635" y="1850"/>
                  </a:cubicBezTo>
                  <a:cubicBezTo>
                    <a:pt x="638" y="1854"/>
                    <a:pt x="643" y="1859"/>
                    <a:pt x="649" y="1866"/>
                  </a:cubicBezTo>
                  <a:cubicBezTo>
                    <a:pt x="656" y="1874"/>
                    <a:pt x="665" y="1884"/>
                    <a:pt x="676" y="1895"/>
                  </a:cubicBezTo>
                  <a:cubicBezTo>
                    <a:pt x="676" y="1896"/>
                    <a:pt x="675" y="1897"/>
                    <a:pt x="673" y="1899"/>
                  </a:cubicBezTo>
                  <a:close/>
                  <a:moveTo>
                    <a:pt x="993" y="2058"/>
                  </a:moveTo>
                  <a:cubicBezTo>
                    <a:pt x="986" y="2074"/>
                    <a:pt x="971" y="2104"/>
                    <a:pt x="936" y="2161"/>
                  </a:cubicBezTo>
                  <a:cubicBezTo>
                    <a:pt x="866" y="2058"/>
                    <a:pt x="661" y="1851"/>
                    <a:pt x="652" y="1842"/>
                  </a:cubicBezTo>
                  <a:cubicBezTo>
                    <a:pt x="643" y="1833"/>
                    <a:pt x="436" y="1628"/>
                    <a:pt x="333" y="1558"/>
                  </a:cubicBezTo>
                  <a:cubicBezTo>
                    <a:pt x="390" y="1522"/>
                    <a:pt x="420" y="1507"/>
                    <a:pt x="435" y="1501"/>
                  </a:cubicBezTo>
                  <a:cubicBezTo>
                    <a:pt x="452" y="1539"/>
                    <a:pt x="510" y="1648"/>
                    <a:pt x="678" y="1816"/>
                  </a:cubicBezTo>
                  <a:cubicBezTo>
                    <a:pt x="845" y="1984"/>
                    <a:pt x="955" y="2042"/>
                    <a:pt x="993" y="2058"/>
                  </a:cubicBezTo>
                  <a:close/>
                  <a:moveTo>
                    <a:pt x="778" y="1876"/>
                  </a:moveTo>
                  <a:cubicBezTo>
                    <a:pt x="772" y="1871"/>
                    <a:pt x="767" y="1866"/>
                    <a:pt x="761" y="1862"/>
                  </a:cubicBezTo>
                  <a:cubicBezTo>
                    <a:pt x="752" y="1854"/>
                    <a:pt x="743" y="1847"/>
                    <a:pt x="735" y="1840"/>
                  </a:cubicBezTo>
                  <a:cubicBezTo>
                    <a:pt x="756" y="1818"/>
                    <a:pt x="756" y="1818"/>
                    <a:pt x="756" y="1818"/>
                  </a:cubicBezTo>
                  <a:cubicBezTo>
                    <a:pt x="759" y="1821"/>
                    <a:pt x="762" y="1824"/>
                    <a:pt x="765" y="1826"/>
                  </a:cubicBezTo>
                  <a:cubicBezTo>
                    <a:pt x="771" y="1832"/>
                    <a:pt x="771" y="1832"/>
                    <a:pt x="771" y="1832"/>
                  </a:cubicBezTo>
                  <a:cubicBezTo>
                    <a:pt x="779" y="1840"/>
                    <a:pt x="788" y="1848"/>
                    <a:pt x="798" y="1857"/>
                  </a:cubicBezTo>
                  <a:cubicBezTo>
                    <a:pt x="790" y="1864"/>
                    <a:pt x="784" y="1871"/>
                    <a:pt x="778" y="1876"/>
                  </a:cubicBezTo>
                  <a:close/>
                  <a:moveTo>
                    <a:pt x="1670" y="1833"/>
                  </a:moveTo>
                  <a:cubicBezTo>
                    <a:pt x="1669" y="1834"/>
                    <a:pt x="1668" y="1835"/>
                    <a:pt x="1667" y="1837"/>
                  </a:cubicBezTo>
                  <a:cubicBezTo>
                    <a:pt x="1581" y="1915"/>
                    <a:pt x="1456" y="2013"/>
                    <a:pt x="1246" y="2035"/>
                  </a:cubicBezTo>
                  <a:cubicBezTo>
                    <a:pt x="1036" y="2013"/>
                    <a:pt x="911" y="1915"/>
                    <a:pt x="825" y="1837"/>
                  </a:cubicBezTo>
                  <a:cubicBezTo>
                    <a:pt x="824" y="1836"/>
                    <a:pt x="823" y="1834"/>
                    <a:pt x="821" y="1833"/>
                  </a:cubicBezTo>
                  <a:cubicBezTo>
                    <a:pt x="809" y="1822"/>
                    <a:pt x="798" y="1812"/>
                    <a:pt x="788" y="1802"/>
                  </a:cubicBezTo>
                  <a:cubicBezTo>
                    <a:pt x="785" y="1799"/>
                    <a:pt x="782" y="1797"/>
                    <a:pt x="779" y="1794"/>
                  </a:cubicBezTo>
                  <a:cubicBezTo>
                    <a:pt x="776" y="1791"/>
                    <a:pt x="773" y="1787"/>
                    <a:pt x="770" y="1784"/>
                  </a:cubicBezTo>
                  <a:cubicBezTo>
                    <a:pt x="756" y="1767"/>
                    <a:pt x="740" y="1747"/>
                    <a:pt x="725" y="1724"/>
                  </a:cubicBezTo>
                  <a:cubicBezTo>
                    <a:pt x="719" y="1716"/>
                    <a:pt x="713" y="1707"/>
                    <a:pt x="708" y="1698"/>
                  </a:cubicBezTo>
                  <a:cubicBezTo>
                    <a:pt x="697" y="1681"/>
                    <a:pt x="686" y="1662"/>
                    <a:pt x="676" y="1643"/>
                  </a:cubicBezTo>
                  <a:cubicBezTo>
                    <a:pt x="676" y="1643"/>
                    <a:pt x="676" y="1643"/>
                    <a:pt x="676" y="1643"/>
                  </a:cubicBezTo>
                  <a:cubicBezTo>
                    <a:pt x="676" y="1642"/>
                    <a:pt x="675" y="1641"/>
                    <a:pt x="675" y="1641"/>
                  </a:cubicBezTo>
                  <a:cubicBezTo>
                    <a:pt x="666" y="1623"/>
                    <a:pt x="657" y="1605"/>
                    <a:pt x="648" y="1586"/>
                  </a:cubicBezTo>
                  <a:cubicBezTo>
                    <a:pt x="612" y="1504"/>
                    <a:pt x="592" y="1416"/>
                    <a:pt x="589" y="1356"/>
                  </a:cubicBezTo>
                  <a:cubicBezTo>
                    <a:pt x="589" y="694"/>
                    <a:pt x="589" y="694"/>
                    <a:pt x="589" y="694"/>
                  </a:cubicBezTo>
                  <a:cubicBezTo>
                    <a:pt x="589" y="668"/>
                    <a:pt x="589" y="668"/>
                    <a:pt x="589" y="668"/>
                  </a:cubicBezTo>
                  <a:cubicBezTo>
                    <a:pt x="589" y="620"/>
                    <a:pt x="589" y="620"/>
                    <a:pt x="589" y="620"/>
                  </a:cubicBezTo>
                  <a:cubicBezTo>
                    <a:pt x="589" y="618"/>
                    <a:pt x="589" y="618"/>
                    <a:pt x="589" y="618"/>
                  </a:cubicBezTo>
                  <a:cubicBezTo>
                    <a:pt x="589" y="538"/>
                    <a:pt x="589" y="538"/>
                    <a:pt x="589" y="538"/>
                  </a:cubicBezTo>
                  <a:cubicBezTo>
                    <a:pt x="589" y="534"/>
                    <a:pt x="589" y="534"/>
                    <a:pt x="589" y="534"/>
                  </a:cubicBezTo>
                  <a:cubicBezTo>
                    <a:pt x="589" y="493"/>
                    <a:pt x="589" y="493"/>
                    <a:pt x="589" y="493"/>
                  </a:cubicBezTo>
                  <a:cubicBezTo>
                    <a:pt x="589" y="469"/>
                    <a:pt x="589" y="469"/>
                    <a:pt x="589" y="469"/>
                  </a:cubicBezTo>
                  <a:cubicBezTo>
                    <a:pt x="589" y="425"/>
                    <a:pt x="589" y="425"/>
                    <a:pt x="589" y="425"/>
                  </a:cubicBezTo>
                  <a:cubicBezTo>
                    <a:pt x="1903" y="425"/>
                    <a:pt x="1903" y="425"/>
                    <a:pt x="1903" y="425"/>
                  </a:cubicBezTo>
                  <a:cubicBezTo>
                    <a:pt x="1903" y="469"/>
                    <a:pt x="1903" y="469"/>
                    <a:pt x="1903" y="469"/>
                  </a:cubicBezTo>
                  <a:cubicBezTo>
                    <a:pt x="1903" y="493"/>
                    <a:pt x="1903" y="493"/>
                    <a:pt x="1903" y="493"/>
                  </a:cubicBezTo>
                  <a:cubicBezTo>
                    <a:pt x="1903" y="534"/>
                    <a:pt x="1903" y="534"/>
                    <a:pt x="1903" y="534"/>
                  </a:cubicBezTo>
                  <a:cubicBezTo>
                    <a:pt x="1903" y="538"/>
                    <a:pt x="1903" y="538"/>
                    <a:pt x="1903" y="538"/>
                  </a:cubicBezTo>
                  <a:cubicBezTo>
                    <a:pt x="1903" y="618"/>
                    <a:pt x="1903" y="618"/>
                    <a:pt x="1903" y="618"/>
                  </a:cubicBezTo>
                  <a:cubicBezTo>
                    <a:pt x="1903" y="620"/>
                    <a:pt x="1903" y="620"/>
                    <a:pt x="1903" y="620"/>
                  </a:cubicBezTo>
                  <a:cubicBezTo>
                    <a:pt x="1903" y="668"/>
                    <a:pt x="1903" y="668"/>
                    <a:pt x="1903" y="668"/>
                  </a:cubicBezTo>
                  <a:cubicBezTo>
                    <a:pt x="1903" y="694"/>
                    <a:pt x="1903" y="694"/>
                    <a:pt x="1903" y="694"/>
                  </a:cubicBezTo>
                  <a:cubicBezTo>
                    <a:pt x="1903" y="1356"/>
                    <a:pt x="1903" y="1356"/>
                    <a:pt x="1903" y="1356"/>
                  </a:cubicBezTo>
                  <a:cubicBezTo>
                    <a:pt x="1900" y="1416"/>
                    <a:pt x="1880" y="1504"/>
                    <a:pt x="1844" y="1586"/>
                  </a:cubicBezTo>
                  <a:cubicBezTo>
                    <a:pt x="1835" y="1605"/>
                    <a:pt x="1826" y="1623"/>
                    <a:pt x="1817" y="1641"/>
                  </a:cubicBezTo>
                  <a:cubicBezTo>
                    <a:pt x="1817" y="1641"/>
                    <a:pt x="1816" y="1642"/>
                    <a:pt x="1816" y="1643"/>
                  </a:cubicBezTo>
                  <a:cubicBezTo>
                    <a:pt x="1816" y="1643"/>
                    <a:pt x="1816" y="1643"/>
                    <a:pt x="1816" y="1643"/>
                  </a:cubicBezTo>
                  <a:cubicBezTo>
                    <a:pt x="1806" y="1662"/>
                    <a:pt x="1795" y="1681"/>
                    <a:pt x="1784" y="1698"/>
                  </a:cubicBezTo>
                  <a:cubicBezTo>
                    <a:pt x="1778" y="1707"/>
                    <a:pt x="1773" y="1716"/>
                    <a:pt x="1767" y="1724"/>
                  </a:cubicBezTo>
                  <a:cubicBezTo>
                    <a:pt x="1752" y="1747"/>
                    <a:pt x="1736" y="1767"/>
                    <a:pt x="1722" y="1783"/>
                  </a:cubicBezTo>
                  <a:cubicBezTo>
                    <a:pt x="1719" y="1787"/>
                    <a:pt x="1715" y="1790"/>
                    <a:pt x="1712" y="1794"/>
                  </a:cubicBezTo>
                  <a:cubicBezTo>
                    <a:pt x="1710" y="1796"/>
                    <a:pt x="1707" y="1799"/>
                    <a:pt x="1704" y="1802"/>
                  </a:cubicBezTo>
                  <a:cubicBezTo>
                    <a:pt x="1694" y="1812"/>
                    <a:pt x="1682" y="1822"/>
                    <a:pt x="1670" y="1833"/>
                  </a:cubicBezTo>
                  <a:close/>
                  <a:moveTo>
                    <a:pt x="1694" y="1857"/>
                  </a:moveTo>
                  <a:cubicBezTo>
                    <a:pt x="1703" y="1848"/>
                    <a:pt x="1712" y="1840"/>
                    <a:pt x="1721" y="1832"/>
                  </a:cubicBezTo>
                  <a:cubicBezTo>
                    <a:pt x="1727" y="1826"/>
                    <a:pt x="1727" y="1826"/>
                    <a:pt x="1727" y="1826"/>
                  </a:cubicBezTo>
                  <a:cubicBezTo>
                    <a:pt x="1730" y="1823"/>
                    <a:pt x="1733" y="1821"/>
                    <a:pt x="1735" y="1818"/>
                  </a:cubicBezTo>
                  <a:cubicBezTo>
                    <a:pt x="1757" y="1840"/>
                    <a:pt x="1757" y="1840"/>
                    <a:pt x="1757" y="1840"/>
                  </a:cubicBezTo>
                  <a:cubicBezTo>
                    <a:pt x="1749" y="1847"/>
                    <a:pt x="1740" y="1854"/>
                    <a:pt x="1731" y="1862"/>
                  </a:cubicBezTo>
                  <a:cubicBezTo>
                    <a:pt x="1725" y="1866"/>
                    <a:pt x="1720" y="1871"/>
                    <a:pt x="1714" y="1876"/>
                  </a:cubicBezTo>
                  <a:cubicBezTo>
                    <a:pt x="1708" y="1871"/>
                    <a:pt x="1702" y="1864"/>
                    <a:pt x="1694" y="1857"/>
                  </a:cubicBezTo>
                  <a:close/>
                  <a:moveTo>
                    <a:pt x="1556" y="2161"/>
                  </a:moveTo>
                  <a:cubicBezTo>
                    <a:pt x="1521" y="2104"/>
                    <a:pt x="1506" y="2074"/>
                    <a:pt x="1499" y="2058"/>
                  </a:cubicBezTo>
                  <a:cubicBezTo>
                    <a:pt x="1537" y="2042"/>
                    <a:pt x="1647" y="1984"/>
                    <a:pt x="1814" y="1816"/>
                  </a:cubicBezTo>
                  <a:cubicBezTo>
                    <a:pt x="1982" y="1648"/>
                    <a:pt x="2040" y="1539"/>
                    <a:pt x="2057" y="1501"/>
                  </a:cubicBezTo>
                  <a:cubicBezTo>
                    <a:pt x="2072" y="1507"/>
                    <a:pt x="2102" y="1522"/>
                    <a:pt x="2159" y="1558"/>
                  </a:cubicBezTo>
                  <a:cubicBezTo>
                    <a:pt x="2056" y="1628"/>
                    <a:pt x="1849" y="1833"/>
                    <a:pt x="1840" y="1842"/>
                  </a:cubicBezTo>
                  <a:cubicBezTo>
                    <a:pt x="1831" y="1851"/>
                    <a:pt x="1626" y="2058"/>
                    <a:pt x="1556" y="2161"/>
                  </a:cubicBezTo>
                  <a:close/>
                  <a:moveTo>
                    <a:pt x="1818" y="1898"/>
                  </a:moveTo>
                  <a:cubicBezTo>
                    <a:pt x="1817" y="1897"/>
                    <a:pt x="1816" y="1896"/>
                    <a:pt x="1816" y="1895"/>
                  </a:cubicBezTo>
                  <a:cubicBezTo>
                    <a:pt x="1827" y="1884"/>
                    <a:pt x="1836" y="1874"/>
                    <a:pt x="1843" y="1866"/>
                  </a:cubicBezTo>
                  <a:cubicBezTo>
                    <a:pt x="1849" y="1860"/>
                    <a:pt x="1854" y="1854"/>
                    <a:pt x="1858" y="1850"/>
                  </a:cubicBezTo>
                  <a:cubicBezTo>
                    <a:pt x="1859" y="1849"/>
                    <a:pt x="1860" y="1848"/>
                    <a:pt x="1862" y="1847"/>
                  </a:cubicBezTo>
                  <a:cubicBezTo>
                    <a:pt x="1825" y="1905"/>
                    <a:pt x="1825" y="1905"/>
                    <a:pt x="1825" y="1905"/>
                  </a:cubicBezTo>
                  <a:cubicBezTo>
                    <a:pt x="1823" y="1903"/>
                    <a:pt x="1820" y="1901"/>
                    <a:pt x="1818" y="1898"/>
                  </a:cubicBezTo>
                  <a:close/>
                  <a:moveTo>
                    <a:pt x="1838" y="1918"/>
                  </a:moveTo>
                  <a:cubicBezTo>
                    <a:pt x="1905" y="1810"/>
                    <a:pt x="1905" y="1810"/>
                    <a:pt x="1905" y="1810"/>
                  </a:cubicBezTo>
                  <a:cubicBezTo>
                    <a:pt x="1905" y="1810"/>
                    <a:pt x="1905" y="1811"/>
                    <a:pt x="1905" y="1811"/>
                  </a:cubicBezTo>
                  <a:cubicBezTo>
                    <a:pt x="1906" y="1812"/>
                    <a:pt x="1906" y="1812"/>
                    <a:pt x="1906" y="1812"/>
                  </a:cubicBezTo>
                  <a:cubicBezTo>
                    <a:pt x="1906" y="1812"/>
                    <a:pt x="1906" y="1812"/>
                    <a:pt x="1906" y="1812"/>
                  </a:cubicBezTo>
                  <a:cubicBezTo>
                    <a:pt x="1911" y="1817"/>
                    <a:pt x="1917" y="1822"/>
                    <a:pt x="1922" y="1827"/>
                  </a:cubicBezTo>
                  <a:cubicBezTo>
                    <a:pt x="1858" y="1940"/>
                    <a:pt x="1858" y="1940"/>
                    <a:pt x="1858" y="1940"/>
                  </a:cubicBezTo>
                  <a:cubicBezTo>
                    <a:pt x="1851" y="1932"/>
                    <a:pt x="1844" y="1925"/>
                    <a:pt x="1838" y="1918"/>
                  </a:cubicBezTo>
                  <a:close/>
                  <a:moveTo>
                    <a:pt x="1871" y="1952"/>
                  </a:moveTo>
                  <a:cubicBezTo>
                    <a:pt x="1935" y="1840"/>
                    <a:pt x="1935" y="1840"/>
                    <a:pt x="1935" y="1840"/>
                  </a:cubicBezTo>
                  <a:cubicBezTo>
                    <a:pt x="1942" y="1846"/>
                    <a:pt x="1949" y="1853"/>
                    <a:pt x="1956" y="1861"/>
                  </a:cubicBezTo>
                  <a:cubicBezTo>
                    <a:pt x="1927" y="1912"/>
                    <a:pt x="1927" y="1912"/>
                    <a:pt x="1927" y="1912"/>
                  </a:cubicBezTo>
                  <a:cubicBezTo>
                    <a:pt x="1893" y="1973"/>
                    <a:pt x="1893" y="1973"/>
                    <a:pt x="1893" y="1973"/>
                  </a:cubicBezTo>
                  <a:cubicBezTo>
                    <a:pt x="1885" y="1966"/>
                    <a:pt x="1878" y="1959"/>
                    <a:pt x="1871" y="1952"/>
                  </a:cubicBezTo>
                  <a:close/>
                  <a:moveTo>
                    <a:pt x="1906" y="1986"/>
                  </a:moveTo>
                  <a:cubicBezTo>
                    <a:pt x="1969" y="1874"/>
                    <a:pt x="1969" y="1874"/>
                    <a:pt x="1969" y="1874"/>
                  </a:cubicBezTo>
                  <a:cubicBezTo>
                    <a:pt x="1976" y="1881"/>
                    <a:pt x="1983" y="1888"/>
                    <a:pt x="1990" y="1895"/>
                  </a:cubicBezTo>
                  <a:cubicBezTo>
                    <a:pt x="1927" y="2006"/>
                    <a:pt x="1927" y="2006"/>
                    <a:pt x="1927" y="2006"/>
                  </a:cubicBezTo>
                  <a:cubicBezTo>
                    <a:pt x="1920" y="1999"/>
                    <a:pt x="1913" y="1993"/>
                    <a:pt x="1906" y="1986"/>
                  </a:cubicBezTo>
                  <a:close/>
                  <a:moveTo>
                    <a:pt x="1940" y="2019"/>
                  </a:moveTo>
                  <a:cubicBezTo>
                    <a:pt x="2003" y="1908"/>
                    <a:pt x="2003" y="1908"/>
                    <a:pt x="2003" y="1908"/>
                  </a:cubicBezTo>
                  <a:cubicBezTo>
                    <a:pt x="2010" y="1916"/>
                    <a:pt x="2016" y="1923"/>
                    <a:pt x="2023" y="1930"/>
                  </a:cubicBezTo>
                  <a:cubicBezTo>
                    <a:pt x="1962" y="2039"/>
                    <a:pt x="1962" y="2039"/>
                    <a:pt x="1962" y="2039"/>
                  </a:cubicBezTo>
                  <a:cubicBezTo>
                    <a:pt x="1955" y="2032"/>
                    <a:pt x="1948" y="2025"/>
                    <a:pt x="1940" y="2019"/>
                  </a:cubicBezTo>
                  <a:close/>
                  <a:moveTo>
                    <a:pt x="1975" y="2051"/>
                  </a:moveTo>
                  <a:cubicBezTo>
                    <a:pt x="2016" y="1979"/>
                    <a:pt x="2016" y="1979"/>
                    <a:pt x="2016" y="1979"/>
                  </a:cubicBezTo>
                  <a:cubicBezTo>
                    <a:pt x="2036" y="1944"/>
                    <a:pt x="2036" y="1944"/>
                    <a:pt x="2036" y="1944"/>
                  </a:cubicBezTo>
                  <a:cubicBezTo>
                    <a:pt x="2043" y="1951"/>
                    <a:pt x="2050" y="1958"/>
                    <a:pt x="2057" y="1966"/>
                  </a:cubicBezTo>
                  <a:cubicBezTo>
                    <a:pt x="1997" y="2071"/>
                    <a:pt x="1997" y="2071"/>
                    <a:pt x="1997" y="2071"/>
                  </a:cubicBezTo>
                  <a:cubicBezTo>
                    <a:pt x="1990" y="2064"/>
                    <a:pt x="1983" y="2058"/>
                    <a:pt x="1975" y="2051"/>
                  </a:cubicBezTo>
                  <a:close/>
                  <a:moveTo>
                    <a:pt x="2010" y="2083"/>
                  </a:moveTo>
                  <a:cubicBezTo>
                    <a:pt x="2069" y="1979"/>
                    <a:pt x="2069" y="1979"/>
                    <a:pt x="2069" y="1979"/>
                  </a:cubicBezTo>
                  <a:cubicBezTo>
                    <a:pt x="2076" y="1987"/>
                    <a:pt x="2083" y="1994"/>
                    <a:pt x="2089" y="2002"/>
                  </a:cubicBezTo>
                  <a:cubicBezTo>
                    <a:pt x="2032" y="2103"/>
                    <a:pt x="2032" y="2103"/>
                    <a:pt x="2032" y="2103"/>
                  </a:cubicBezTo>
                  <a:cubicBezTo>
                    <a:pt x="2025" y="2096"/>
                    <a:pt x="2018" y="2090"/>
                    <a:pt x="2010" y="2083"/>
                  </a:cubicBezTo>
                  <a:close/>
                  <a:moveTo>
                    <a:pt x="2046" y="2115"/>
                  </a:moveTo>
                  <a:cubicBezTo>
                    <a:pt x="2102" y="2016"/>
                    <a:pt x="2102" y="2016"/>
                    <a:pt x="2102" y="2016"/>
                  </a:cubicBezTo>
                  <a:cubicBezTo>
                    <a:pt x="2109" y="2023"/>
                    <a:pt x="2115" y="2031"/>
                    <a:pt x="2122" y="2038"/>
                  </a:cubicBezTo>
                  <a:cubicBezTo>
                    <a:pt x="2068" y="2135"/>
                    <a:pt x="2068" y="2135"/>
                    <a:pt x="2068" y="2135"/>
                  </a:cubicBezTo>
                  <a:cubicBezTo>
                    <a:pt x="2060" y="2128"/>
                    <a:pt x="2053" y="2122"/>
                    <a:pt x="2046" y="2115"/>
                  </a:cubicBezTo>
                  <a:close/>
                  <a:moveTo>
                    <a:pt x="2081" y="2147"/>
                  </a:moveTo>
                  <a:cubicBezTo>
                    <a:pt x="2135" y="2052"/>
                    <a:pt x="2135" y="2052"/>
                    <a:pt x="2135" y="2052"/>
                  </a:cubicBezTo>
                  <a:cubicBezTo>
                    <a:pt x="2141" y="2060"/>
                    <a:pt x="2148" y="2067"/>
                    <a:pt x="2155" y="2075"/>
                  </a:cubicBezTo>
                  <a:cubicBezTo>
                    <a:pt x="2149" y="2085"/>
                    <a:pt x="2149" y="2085"/>
                    <a:pt x="2149" y="2085"/>
                  </a:cubicBezTo>
                  <a:cubicBezTo>
                    <a:pt x="2103" y="2166"/>
                    <a:pt x="2103" y="2166"/>
                    <a:pt x="2103" y="2166"/>
                  </a:cubicBezTo>
                  <a:cubicBezTo>
                    <a:pt x="2096" y="2160"/>
                    <a:pt x="2089" y="2153"/>
                    <a:pt x="2081" y="2147"/>
                  </a:cubicBezTo>
                  <a:close/>
                  <a:moveTo>
                    <a:pt x="2117" y="2178"/>
                  </a:moveTo>
                  <a:cubicBezTo>
                    <a:pt x="2167" y="2089"/>
                    <a:pt x="2167" y="2089"/>
                    <a:pt x="2167" y="2089"/>
                  </a:cubicBezTo>
                  <a:cubicBezTo>
                    <a:pt x="2174" y="2096"/>
                    <a:pt x="2181" y="2104"/>
                    <a:pt x="2187" y="2111"/>
                  </a:cubicBezTo>
                  <a:cubicBezTo>
                    <a:pt x="2139" y="2197"/>
                    <a:pt x="2139" y="2197"/>
                    <a:pt x="2139" y="2197"/>
                  </a:cubicBezTo>
                  <a:cubicBezTo>
                    <a:pt x="2132" y="2191"/>
                    <a:pt x="2124" y="2185"/>
                    <a:pt x="2117" y="2178"/>
                  </a:cubicBezTo>
                  <a:close/>
                  <a:moveTo>
                    <a:pt x="2152" y="2209"/>
                  </a:moveTo>
                  <a:cubicBezTo>
                    <a:pt x="2199" y="2126"/>
                    <a:pt x="2199" y="2126"/>
                    <a:pt x="2199" y="2126"/>
                  </a:cubicBezTo>
                  <a:cubicBezTo>
                    <a:pt x="2206" y="2134"/>
                    <a:pt x="2213" y="2141"/>
                    <a:pt x="2219" y="2149"/>
                  </a:cubicBezTo>
                  <a:cubicBezTo>
                    <a:pt x="2174" y="2228"/>
                    <a:pt x="2174" y="2228"/>
                    <a:pt x="2174" y="2228"/>
                  </a:cubicBezTo>
                  <a:cubicBezTo>
                    <a:pt x="2168" y="2222"/>
                    <a:pt x="2160" y="2216"/>
                    <a:pt x="2152" y="2209"/>
                  </a:cubicBezTo>
                  <a:close/>
                  <a:moveTo>
                    <a:pt x="2188" y="2240"/>
                  </a:moveTo>
                  <a:cubicBezTo>
                    <a:pt x="2194" y="2229"/>
                    <a:pt x="2194" y="2229"/>
                    <a:pt x="2194" y="2229"/>
                  </a:cubicBezTo>
                  <a:cubicBezTo>
                    <a:pt x="2232" y="2163"/>
                    <a:pt x="2232" y="2163"/>
                    <a:pt x="2232" y="2163"/>
                  </a:cubicBezTo>
                  <a:cubicBezTo>
                    <a:pt x="2239" y="2171"/>
                    <a:pt x="2246" y="2179"/>
                    <a:pt x="2252" y="2186"/>
                  </a:cubicBezTo>
                  <a:cubicBezTo>
                    <a:pt x="2210" y="2259"/>
                    <a:pt x="2210" y="2259"/>
                    <a:pt x="2210" y="2259"/>
                  </a:cubicBezTo>
                  <a:cubicBezTo>
                    <a:pt x="2205" y="2254"/>
                    <a:pt x="2197" y="2248"/>
                    <a:pt x="2188" y="2240"/>
                  </a:cubicBezTo>
                  <a:close/>
                  <a:moveTo>
                    <a:pt x="2334" y="2459"/>
                  </a:moveTo>
                  <a:cubicBezTo>
                    <a:pt x="2301" y="2459"/>
                    <a:pt x="2270" y="2446"/>
                    <a:pt x="2247" y="2423"/>
                  </a:cubicBezTo>
                  <a:cubicBezTo>
                    <a:pt x="2211" y="2387"/>
                    <a:pt x="2201" y="2334"/>
                    <a:pt x="2220" y="2288"/>
                  </a:cubicBezTo>
                  <a:cubicBezTo>
                    <a:pt x="2222" y="2287"/>
                    <a:pt x="2223" y="2286"/>
                    <a:pt x="2224" y="2285"/>
                  </a:cubicBezTo>
                  <a:cubicBezTo>
                    <a:pt x="2288" y="2222"/>
                    <a:pt x="2288" y="2222"/>
                    <a:pt x="2288" y="2222"/>
                  </a:cubicBezTo>
                  <a:cubicBezTo>
                    <a:pt x="2302" y="2216"/>
                    <a:pt x="2318" y="2213"/>
                    <a:pt x="2334" y="2213"/>
                  </a:cubicBezTo>
                  <a:cubicBezTo>
                    <a:pt x="2366" y="2213"/>
                    <a:pt x="2397" y="2225"/>
                    <a:pt x="2421" y="2249"/>
                  </a:cubicBezTo>
                  <a:cubicBezTo>
                    <a:pt x="2461" y="2289"/>
                    <a:pt x="2468" y="2351"/>
                    <a:pt x="2439" y="2399"/>
                  </a:cubicBezTo>
                  <a:cubicBezTo>
                    <a:pt x="2434" y="2407"/>
                    <a:pt x="2428" y="2415"/>
                    <a:pt x="2421" y="2423"/>
                  </a:cubicBezTo>
                  <a:cubicBezTo>
                    <a:pt x="2414" y="2429"/>
                    <a:pt x="2406" y="2435"/>
                    <a:pt x="2398" y="2440"/>
                  </a:cubicBezTo>
                  <a:cubicBezTo>
                    <a:pt x="2379" y="2452"/>
                    <a:pt x="2356" y="2459"/>
                    <a:pt x="2334" y="2459"/>
                  </a:cubicBezTo>
                  <a:close/>
                  <a:moveTo>
                    <a:pt x="2410" y="2453"/>
                  </a:moveTo>
                  <a:cubicBezTo>
                    <a:pt x="2417" y="2448"/>
                    <a:pt x="2424" y="2443"/>
                    <a:pt x="2431" y="2437"/>
                  </a:cubicBezTo>
                  <a:cubicBezTo>
                    <a:pt x="2424" y="2443"/>
                    <a:pt x="2417" y="2448"/>
                    <a:pt x="2410" y="245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182;p1">
              <a:extLst>
                <a:ext uri="{FF2B5EF4-FFF2-40B4-BE49-F238E27FC236}">
                  <a16:creationId xmlns:a16="http://schemas.microsoft.com/office/drawing/2014/main" id="{181B2C3B-2F95-4AC9-A09D-51884722F79A}"/>
                </a:ext>
              </a:extLst>
            </p:cNvPr>
            <p:cNvSpPr/>
            <p:nvPr/>
          </p:nvSpPr>
          <p:spPr>
            <a:xfrm>
              <a:off x="14044613" y="2930525"/>
              <a:ext cx="4763" cy="7938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5" y="0"/>
                  </a:moveTo>
                  <a:cubicBezTo>
                    <a:pt x="4" y="1"/>
                    <a:pt x="1" y="6"/>
                    <a:pt x="1" y="8"/>
                  </a:cubicBezTo>
                  <a:cubicBezTo>
                    <a:pt x="1" y="9"/>
                    <a:pt x="0" y="13"/>
                    <a:pt x="2" y="13"/>
                  </a:cubicBezTo>
                  <a:cubicBezTo>
                    <a:pt x="5" y="14"/>
                    <a:pt x="5" y="9"/>
                    <a:pt x="6" y="7"/>
                  </a:cubicBezTo>
                  <a:cubicBezTo>
                    <a:pt x="7" y="6"/>
                    <a:pt x="8" y="4"/>
                    <a:pt x="8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" name="Google Shape;183;p1">
              <a:extLst>
                <a:ext uri="{FF2B5EF4-FFF2-40B4-BE49-F238E27FC236}">
                  <a16:creationId xmlns:a16="http://schemas.microsoft.com/office/drawing/2014/main" id="{0EDA89E2-762C-4B21-AE3E-9995512B6811}"/>
                </a:ext>
              </a:extLst>
            </p:cNvPr>
            <p:cNvSpPr/>
            <p:nvPr/>
          </p:nvSpPr>
          <p:spPr>
            <a:xfrm>
              <a:off x="14050963" y="2928938"/>
              <a:ext cx="4763" cy="7938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2" y="8"/>
                  </a:moveTo>
                  <a:cubicBezTo>
                    <a:pt x="2" y="8"/>
                    <a:pt x="2" y="10"/>
                    <a:pt x="2" y="10"/>
                  </a:cubicBezTo>
                  <a:cubicBezTo>
                    <a:pt x="1" y="11"/>
                    <a:pt x="0" y="15"/>
                    <a:pt x="2" y="15"/>
                  </a:cubicBezTo>
                  <a:cubicBezTo>
                    <a:pt x="4" y="15"/>
                    <a:pt x="4" y="15"/>
                    <a:pt x="5" y="13"/>
                  </a:cubicBezTo>
                  <a:cubicBezTo>
                    <a:pt x="6" y="11"/>
                    <a:pt x="8" y="1"/>
                    <a:pt x="5" y="0"/>
                  </a:cubicBezTo>
                  <a:cubicBezTo>
                    <a:pt x="2" y="0"/>
                    <a:pt x="2" y="4"/>
                    <a:pt x="2" y="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" name="Google Shape;184;p1">
              <a:extLst>
                <a:ext uri="{FF2B5EF4-FFF2-40B4-BE49-F238E27FC236}">
                  <a16:creationId xmlns:a16="http://schemas.microsoft.com/office/drawing/2014/main" id="{0FEB0E46-0B57-404C-A927-56E24F62CC7C}"/>
                </a:ext>
              </a:extLst>
            </p:cNvPr>
            <p:cNvSpPr/>
            <p:nvPr/>
          </p:nvSpPr>
          <p:spPr>
            <a:xfrm>
              <a:off x="14055725" y="2908300"/>
              <a:ext cx="33338" cy="26988"/>
            </a:xfrm>
            <a:custGeom>
              <a:avLst/>
              <a:gdLst/>
              <a:ahLst/>
              <a:cxnLst/>
              <a:rect l="l" t="t" r="r" b="b"/>
              <a:pathLst>
                <a:path w="58" h="49" extrusionOk="0">
                  <a:moveTo>
                    <a:pt x="55" y="11"/>
                  </a:moveTo>
                  <a:cubicBezTo>
                    <a:pt x="55" y="11"/>
                    <a:pt x="58" y="9"/>
                    <a:pt x="57" y="7"/>
                  </a:cubicBezTo>
                  <a:cubicBezTo>
                    <a:pt x="54" y="0"/>
                    <a:pt x="44" y="8"/>
                    <a:pt x="47" y="17"/>
                  </a:cubicBezTo>
                  <a:cubicBezTo>
                    <a:pt x="47" y="20"/>
                    <a:pt x="51" y="31"/>
                    <a:pt x="49" y="34"/>
                  </a:cubicBezTo>
                  <a:cubicBezTo>
                    <a:pt x="48" y="39"/>
                    <a:pt x="37" y="40"/>
                    <a:pt x="34" y="37"/>
                  </a:cubicBezTo>
                  <a:cubicBezTo>
                    <a:pt x="31" y="34"/>
                    <a:pt x="28" y="34"/>
                    <a:pt x="21" y="34"/>
                  </a:cubicBezTo>
                  <a:cubicBezTo>
                    <a:pt x="16" y="34"/>
                    <a:pt x="12" y="34"/>
                    <a:pt x="8" y="37"/>
                  </a:cubicBezTo>
                  <a:cubicBezTo>
                    <a:pt x="7" y="37"/>
                    <a:pt x="0" y="42"/>
                    <a:pt x="2" y="45"/>
                  </a:cubicBezTo>
                  <a:cubicBezTo>
                    <a:pt x="4" y="46"/>
                    <a:pt x="18" y="39"/>
                    <a:pt x="24" y="42"/>
                  </a:cubicBezTo>
                  <a:cubicBezTo>
                    <a:pt x="26" y="42"/>
                    <a:pt x="30" y="45"/>
                    <a:pt x="32" y="46"/>
                  </a:cubicBezTo>
                  <a:cubicBezTo>
                    <a:pt x="42" y="49"/>
                    <a:pt x="58" y="45"/>
                    <a:pt x="58" y="31"/>
                  </a:cubicBezTo>
                  <a:cubicBezTo>
                    <a:pt x="58" y="26"/>
                    <a:pt x="57" y="21"/>
                    <a:pt x="56" y="17"/>
                  </a:cubicBezTo>
                  <a:cubicBezTo>
                    <a:pt x="56" y="16"/>
                    <a:pt x="55" y="14"/>
                    <a:pt x="55" y="1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185;p1">
              <a:extLst>
                <a:ext uri="{FF2B5EF4-FFF2-40B4-BE49-F238E27FC236}">
                  <a16:creationId xmlns:a16="http://schemas.microsoft.com/office/drawing/2014/main" id="{1CAA22CC-D7BC-465A-8D4D-A4EAB650B30E}"/>
                </a:ext>
              </a:extLst>
            </p:cNvPr>
            <p:cNvSpPr/>
            <p:nvPr/>
          </p:nvSpPr>
          <p:spPr>
            <a:xfrm>
              <a:off x="14038263" y="2527300"/>
              <a:ext cx="25400" cy="30163"/>
            </a:xfrm>
            <a:custGeom>
              <a:avLst/>
              <a:gdLst/>
              <a:ahLst/>
              <a:cxnLst/>
              <a:rect l="l" t="t" r="r" b="b"/>
              <a:pathLst>
                <a:path w="45" h="54" extrusionOk="0">
                  <a:moveTo>
                    <a:pt x="33" y="49"/>
                  </a:moveTo>
                  <a:cubicBezTo>
                    <a:pt x="35" y="49"/>
                    <a:pt x="37" y="51"/>
                    <a:pt x="38" y="52"/>
                  </a:cubicBezTo>
                  <a:cubicBezTo>
                    <a:pt x="41" y="54"/>
                    <a:pt x="44" y="54"/>
                    <a:pt x="45" y="49"/>
                  </a:cubicBezTo>
                  <a:cubicBezTo>
                    <a:pt x="45" y="43"/>
                    <a:pt x="36" y="39"/>
                    <a:pt x="30" y="41"/>
                  </a:cubicBezTo>
                  <a:cubicBezTo>
                    <a:pt x="18" y="47"/>
                    <a:pt x="7" y="36"/>
                    <a:pt x="11" y="23"/>
                  </a:cubicBezTo>
                  <a:cubicBezTo>
                    <a:pt x="12" y="21"/>
                    <a:pt x="15" y="11"/>
                    <a:pt x="13" y="7"/>
                  </a:cubicBezTo>
                  <a:cubicBezTo>
                    <a:pt x="10" y="3"/>
                    <a:pt x="0" y="0"/>
                    <a:pt x="1" y="7"/>
                  </a:cubicBezTo>
                  <a:cubicBezTo>
                    <a:pt x="2" y="10"/>
                    <a:pt x="5" y="11"/>
                    <a:pt x="5" y="13"/>
                  </a:cubicBezTo>
                  <a:cubicBezTo>
                    <a:pt x="6" y="17"/>
                    <a:pt x="3" y="21"/>
                    <a:pt x="2" y="27"/>
                  </a:cubicBezTo>
                  <a:cubicBezTo>
                    <a:pt x="1" y="37"/>
                    <a:pt x="7" y="53"/>
                    <a:pt x="23" y="52"/>
                  </a:cubicBezTo>
                  <a:cubicBezTo>
                    <a:pt x="25" y="52"/>
                    <a:pt x="30" y="50"/>
                    <a:pt x="33" y="4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186;p1">
              <a:extLst>
                <a:ext uri="{FF2B5EF4-FFF2-40B4-BE49-F238E27FC236}">
                  <a16:creationId xmlns:a16="http://schemas.microsoft.com/office/drawing/2014/main" id="{E8E2597A-CFE5-4B94-8441-0318F76803E7}"/>
                </a:ext>
              </a:extLst>
            </p:cNvPr>
            <p:cNvSpPr/>
            <p:nvPr/>
          </p:nvSpPr>
          <p:spPr>
            <a:xfrm>
              <a:off x="14274800" y="27527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5" h="7" extrusionOk="0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0" y="5"/>
                    <a:pt x="1" y="5"/>
                    <a:pt x="1" y="6"/>
                  </a:cubicBezTo>
                  <a:cubicBezTo>
                    <a:pt x="2" y="7"/>
                    <a:pt x="3" y="7"/>
                    <a:pt x="4" y="5"/>
                  </a:cubicBezTo>
                  <a:cubicBezTo>
                    <a:pt x="5" y="2"/>
                    <a:pt x="4" y="0"/>
                    <a:pt x="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187;p1">
              <a:extLst>
                <a:ext uri="{FF2B5EF4-FFF2-40B4-BE49-F238E27FC236}">
                  <a16:creationId xmlns:a16="http://schemas.microsoft.com/office/drawing/2014/main" id="{1BCED0A8-C342-4022-9CE1-26BD18361245}"/>
                </a:ext>
              </a:extLst>
            </p:cNvPr>
            <p:cNvSpPr/>
            <p:nvPr/>
          </p:nvSpPr>
          <p:spPr>
            <a:xfrm>
              <a:off x="14112875" y="2403475"/>
              <a:ext cx="4763" cy="3175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4"/>
                  </a:moveTo>
                  <a:cubicBezTo>
                    <a:pt x="0" y="6"/>
                    <a:pt x="1" y="7"/>
                    <a:pt x="3" y="7"/>
                  </a:cubicBezTo>
                  <a:cubicBezTo>
                    <a:pt x="5" y="8"/>
                    <a:pt x="8" y="7"/>
                    <a:pt x="7" y="4"/>
                  </a:cubicBezTo>
                  <a:cubicBezTo>
                    <a:pt x="5" y="2"/>
                    <a:pt x="0" y="0"/>
                    <a:pt x="0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188;p1">
              <a:extLst>
                <a:ext uri="{FF2B5EF4-FFF2-40B4-BE49-F238E27FC236}">
                  <a16:creationId xmlns:a16="http://schemas.microsoft.com/office/drawing/2014/main" id="{5FF1AEFF-EB82-4337-88D0-24F1E61864C9}"/>
                </a:ext>
              </a:extLst>
            </p:cNvPr>
            <p:cNvSpPr/>
            <p:nvPr/>
          </p:nvSpPr>
          <p:spPr>
            <a:xfrm>
              <a:off x="14285913" y="2994025"/>
              <a:ext cx="6350" cy="7938"/>
            </a:xfrm>
            <a:custGeom>
              <a:avLst/>
              <a:gdLst/>
              <a:ahLst/>
              <a:cxnLst/>
              <a:rect l="l" t="t" r="r" b="b"/>
              <a:pathLst>
                <a:path w="13" h="14" extrusionOk="0">
                  <a:moveTo>
                    <a:pt x="4" y="0"/>
                  </a:moveTo>
                  <a:cubicBezTo>
                    <a:pt x="2" y="0"/>
                    <a:pt x="0" y="2"/>
                    <a:pt x="1" y="3"/>
                  </a:cubicBezTo>
                  <a:cubicBezTo>
                    <a:pt x="2" y="5"/>
                    <a:pt x="7" y="12"/>
                    <a:pt x="8" y="14"/>
                  </a:cubicBezTo>
                  <a:cubicBezTo>
                    <a:pt x="8" y="14"/>
                    <a:pt x="10" y="14"/>
                    <a:pt x="11" y="13"/>
                  </a:cubicBezTo>
                  <a:cubicBezTo>
                    <a:pt x="13" y="12"/>
                    <a:pt x="11" y="9"/>
                    <a:pt x="10" y="7"/>
                  </a:cubicBezTo>
                  <a:cubicBezTo>
                    <a:pt x="8" y="3"/>
                    <a:pt x="7" y="0"/>
                    <a:pt x="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189;p1">
              <a:extLst>
                <a:ext uri="{FF2B5EF4-FFF2-40B4-BE49-F238E27FC236}">
                  <a16:creationId xmlns:a16="http://schemas.microsoft.com/office/drawing/2014/main" id="{FE69F103-9F19-49C4-A31A-F9E9DEDC42AA}"/>
                </a:ext>
              </a:extLst>
            </p:cNvPr>
            <p:cNvSpPr/>
            <p:nvPr/>
          </p:nvSpPr>
          <p:spPr>
            <a:xfrm>
              <a:off x="14282738" y="3000375"/>
              <a:ext cx="6350" cy="7938"/>
            </a:xfrm>
            <a:custGeom>
              <a:avLst/>
              <a:gdLst/>
              <a:ahLst/>
              <a:cxnLst/>
              <a:rect l="l" t="t" r="r" b="b"/>
              <a:pathLst>
                <a:path w="11" h="13" extrusionOk="0">
                  <a:moveTo>
                    <a:pt x="4" y="1"/>
                  </a:moveTo>
                  <a:cubicBezTo>
                    <a:pt x="2" y="0"/>
                    <a:pt x="0" y="2"/>
                    <a:pt x="1" y="3"/>
                  </a:cubicBezTo>
                  <a:cubicBezTo>
                    <a:pt x="2" y="5"/>
                    <a:pt x="6" y="10"/>
                    <a:pt x="7" y="12"/>
                  </a:cubicBezTo>
                  <a:cubicBezTo>
                    <a:pt x="7" y="13"/>
                    <a:pt x="9" y="12"/>
                    <a:pt x="9" y="12"/>
                  </a:cubicBezTo>
                  <a:cubicBezTo>
                    <a:pt x="11" y="10"/>
                    <a:pt x="9" y="8"/>
                    <a:pt x="8" y="6"/>
                  </a:cubicBezTo>
                  <a:cubicBezTo>
                    <a:pt x="6" y="3"/>
                    <a:pt x="6" y="1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190;p1">
              <a:extLst>
                <a:ext uri="{FF2B5EF4-FFF2-40B4-BE49-F238E27FC236}">
                  <a16:creationId xmlns:a16="http://schemas.microsoft.com/office/drawing/2014/main" id="{AB9B882B-1862-483C-BD93-A6A9F630CFD7}"/>
                </a:ext>
              </a:extLst>
            </p:cNvPr>
            <p:cNvSpPr/>
            <p:nvPr/>
          </p:nvSpPr>
          <p:spPr>
            <a:xfrm>
              <a:off x="14274800" y="2749550"/>
              <a:ext cx="1588" cy="1588"/>
            </a:xfrm>
            <a:custGeom>
              <a:avLst/>
              <a:gdLst/>
              <a:ahLst/>
              <a:cxnLst/>
              <a:rect l="l" t="t" r="r" b="b"/>
              <a:pathLst>
                <a:path w="4" h="3" extrusionOk="0">
                  <a:moveTo>
                    <a:pt x="4" y="3"/>
                  </a:moveTo>
                  <a:cubicBezTo>
                    <a:pt x="4" y="2"/>
                    <a:pt x="4" y="1"/>
                    <a:pt x="3" y="0"/>
                  </a:cubicBezTo>
                  <a:cubicBezTo>
                    <a:pt x="2" y="0"/>
                    <a:pt x="0" y="0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191;p1">
              <a:extLst>
                <a:ext uri="{FF2B5EF4-FFF2-40B4-BE49-F238E27FC236}">
                  <a16:creationId xmlns:a16="http://schemas.microsoft.com/office/drawing/2014/main" id="{39DD0AC7-8E9E-40B2-BC85-A66DCF8DC822}"/>
                </a:ext>
              </a:extLst>
            </p:cNvPr>
            <p:cNvSpPr/>
            <p:nvPr/>
          </p:nvSpPr>
          <p:spPr>
            <a:xfrm>
              <a:off x="14277975" y="2760663"/>
              <a:ext cx="3175" cy="3175"/>
            </a:xfrm>
            <a:custGeom>
              <a:avLst/>
              <a:gdLst/>
              <a:ahLst/>
              <a:cxnLst/>
              <a:rect l="l" t="t" r="r" b="b"/>
              <a:pathLst>
                <a:path w="5" h="6" extrusionOk="0">
                  <a:moveTo>
                    <a:pt x="3" y="6"/>
                  </a:moveTo>
                  <a:cubicBezTo>
                    <a:pt x="4" y="6"/>
                    <a:pt x="4" y="5"/>
                    <a:pt x="4" y="4"/>
                  </a:cubicBezTo>
                  <a:cubicBezTo>
                    <a:pt x="4" y="4"/>
                    <a:pt x="5" y="3"/>
                    <a:pt x="5" y="2"/>
                  </a:cubicBezTo>
                  <a:cubicBezTo>
                    <a:pt x="5" y="1"/>
                    <a:pt x="5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2" y="6"/>
                    <a:pt x="3" y="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192;p1">
              <a:extLst>
                <a:ext uri="{FF2B5EF4-FFF2-40B4-BE49-F238E27FC236}">
                  <a16:creationId xmlns:a16="http://schemas.microsoft.com/office/drawing/2014/main" id="{E7EC7F06-09A5-4C68-B0CD-EB94E3D085EC}"/>
                </a:ext>
              </a:extLst>
            </p:cNvPr>
            <p:cNvSpPr/>
            <p:nvPr/>
          </p:nvSpPr>
          <p:spPr>
            <a:xfrm>
              <a:off x="14222413" y="27400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1" y="3"/>
                  </a:moveTo>
                  <a:cubicBezTo>
                    <a:pt x="1" y="4"/>
                    <a:pt x="0" y="6"/>
                    <a:pt x="1" y="6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7" y="3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3" y="0"/>
                    <a:pt x="2" y="2"/>
                    <a:pt x="1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193;p1">
              <a:extLst>
                <a:ext uri="{FF2B5EF4-FFF2-40B4-BE49-F238E27FC236}">
                  <a16:creationId xmlns:a16="http://schemas.microsoft.com/office/drawing/2014/main" id="{692B1A0D-D113-4C50-A4CD-1AF9A5622800}"/>
                </a:ext>
              </a:extLst>
            </p:cNvPr>
            <p:cNvSpPr/>
            <p:nvPr/>
          </p:nvSpPr>
          <p:spPr>
            <a:xfrm>
              <a:off x="14225588" y="2744788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6" h="7" extrusionOk="0">
                  <a:moveTo>
                    <a:pt x="0" y="3"/>
                  </a:moveTo>
                  <a:cubicBezTo>
                    <a:pt x="0" y="5"/>
                    <a:pt x="1" y="7"/>
                    <a:pt x="4" y="6"/>
                  </a:cubicBezTo>
                  <a:cubicBezTo>
                    <a:pt x="5" y="5"/>
                    <a:pt x="6" y="4"/>
                    <a:pt x="6" y="3"/>
                  </a:cubicBezTo>
                  <a:cubicBezTo>
                    <a:pt x="6" y="0"/>
                    <a:pt x="1" y="1"/>
                    <a:pt x="0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194;p1">
              <a:extLst>
                <a:ext uri="{FF2B5EF4-FFF2-40B4-BE49-F238E27FC236}">
                  <a16:creationId xmlns:a16="http://schemas.microsoft.com/office/drawing/2014/main" id="{58F694E8-169D-473E-9F4F-4F68D9FA4669}"/>
                </a:ext>
              </a:extLst>
            </p:cNvPr>
            <p:cNvSpPr/>
            <p:nvPr/>
          </p:nvSpPr>
          <p:spPr>
            <a:xfrm>
              <a:off x="14282738" y="3008313"/>
              <a:ext cx="3175" cy="7938"/>
            </a:xfrm>
            <a:custGeom>
              <a:avLst/>
              <a:gdLst/>
              <a:ahLst/>
              <a:cxnLst/>
              <a:rect l="l" t="t" r="r" b="b"/>
              <a:pathLst>
                <a:path w="6" h="13" extrusionOk="0">
                  <a:moveTo>
                    <a:pt x="1" y="1"/>
                  </a:moveTo>
                  <a:cubicBezTo>
                    <a:pt x="0" y="4"/>
                    <a:pt x="0" y="10"/>
                    <a:pt x="0" y="11"/>
                  </a:cubicBezTo>
                  <a:cubicBezTo>
                    <a:pt x="0" y="13"/>
                    <a:pt x="2" y="13"/>
                    <a:pt x="3" y="13"/>
                  </a:cubicBezTo>
                  <a:cubicBezTo>
                    <a:pt x="5" y="13"/>
                    <a:pt x="5" y="9"/>
                    <a:pt x="5" y="8"/>
                  </a:cubicBezTo>
                  <a:cubicBezTo>
                    <a:pt x="5" y="4"/>
                    <a:pt x="6" y="1"/>
                    <a:pt x="4" y="0"/>
                  </a:cubicBezTo>
                  <a:cubicBezTo>
                    <a:pt x="3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195;p1">
              <a:extLst>
                <a:ext uri="{FF2B5EF4-FFF2-40B4-BE49-F238E27FC236}">
                  <a16:creationId xmlns:a16="http://schemas.microsoft.com/office/drawing/2014/main" id="{DBB270B9-DB1E-4463-AB14-F32DA8D2A8B3}"/>
                </a:ext>
              </a:extLst>
            </p:cNvPr>
            <p:cNvSpPr/>
            <p:nvPr/>
          </p:nvSpPr>
          <p:spPr>
            <a:xfrm>
              <a:off x="14247813" y="2366963"/>
              <a:ext cx="17463" cy="39688"/>
            </a:xfrm>
            <a:custGeom>
              <a:avLst/>
              <a:gdLst/>
              <a:ahLst/>
              <a:cxnLst/>
              <a:rect l="l" t="t" r="r" b="b"/>
              <a:pathLst>
                <a:path w="31" h="70" extrusionOk="0">
                  <a:moveTo>
                    <a:pt x="27" y="45"/>
                  </a:moveTo>
                  <a:cubicBezTo>
                    <a:pt x="25" y="45"/>
                    <a:pt x="25" y="45"/>
                    <a:pt x="25" y="45"/>
                  </a:cubicBezTo>
                  <a:cubicBezTo>
                    <a:pt x="23" y="49"/>
                    <a:pt x="17" y="55"/>
                    <a:pt x="13" y="50"/>
                  </a:cubicBezTo>
                  <a:cubicBezTo>
                    <a:pt x="10" y="47"/>
                    <a:pt x="10" y="44"/>
                    <a:pt x="10" y="37"/>
                  </a:cubicBezTo>
                  <a:cubicBezTo>
                    <a:pt x="9" y="31"/>
                    <a:pt x="9" y="19"/>
                    <a:pt x="14" y="15"/>
                  </a:cubicBezTo>
                  <a:cubicBezTo>
                    <a:pt x="17" y="13"/>
                    <a:pt x="21" y="10"/>
                    <a:pt x="23" y="14"/>
                  </a:cubicBezTo>
                  <a:cubicBezTo>
                    <a:pt x="24" y="15"/>
                    <a:pt x="25" y="24"/>
                    <a:pt x="25" y="24"/>
                  </a:cubicBezTo>
                  <a:cubicBezTo>
                    <a:pt x="31" y="24"/>
                    <a:pt x="29" y="0"/>
                    <a:pt x="19" y="3"/>
                  </a:cubicBezTo>
                  <a:cubicBezTo>
                    <a:pt x="15" y="4"/>
                    <a:pt x="12" y="5"/>
                    <a:pt x="8" y="9"/>
                  </a:cubicBezTo>
                  <a:cubicBezTo>
                    <a:pt x="0" y="17"/>
                    <a:pt x="4" y="37"/>
                    <a:pt x="3" y="49"/>
                  </a:cubicBezTo>
                  <a:cubicBezTo>
                    <a:pt x="1" y="70"/>
                    <a:pt x="27" y="62"/>
                    <a:pt x="27" y="4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196;p1">
              <a:extLst>
                <a:ext uri="{FF2B5EF4-FFF2-40B4-BE49-F238E27FC236}">
                  <a16:creationId xmlns:a16="http://schemas.microsoft.com/office/drawing/2014/main" id="{EF613DF7-E73A-4B34-9CA1-09D1FF2D2A72}"/>
                </a:ext>
              </a:extLst>
            </p:cNvPr>
            <p:cNvSpPr/>
            <p:nvPr/>
          </p:nvSpPr>
          <p:spPr>
            <a:xfrm>
              <a:off x="14108113" y="2411413"/>
              <a:ext cx="4763" cy="4763"/>
            </a:xfrm>
            <a:custGeom>
              <a:avLst/>
              <a:gdLst/>
              <a:ahLst/>
              <a:cxnLst/>
              <a:rect l="l" t="t" r="r" b="b"/>
              <a:pathLst>
                <a:path w="10" h="7" extrusionOk="0">
                  <a:moveTo>
                    <a:pt x="1" y="3"/>
                  </a:moveTo>
                  <a:cubicBezTo>
                    <a:pt x="0" y="7"/>
                    <a:pt x="7" y="6"/>
                    <a:pt x="9" y="3"/>
                  </a:cubicBezTo>
                  <a:cubicBezTo>
                    <a:pt x="10" y="0"/>
                    <a:pt x="2" y="0"/>
                    <a:pt x="1" y="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197;p1">
              <a:extLst>
                <a:ext uri="{FF2B5EF4-FFF2-40B4-BE49-F238E27FC236}">
                  <a16:creationId xmlns:a16="http://schemas.microsoft.com/office/drawing/2014/main" id="{9596ED73-09F6-44A6-A561-A0D62BE76EDD}"/>
                </a:ext>
              </a:extLst>
            </p:cNvPr>
            <p:cNvSpPr/>
            <p:nvPr/>
          </p:nvSpPr>
          <p:spPr>
            <a:xfrm>
              <a:off x="14289088" y="2989263"/>
              <a:ext cx="7938" cy="6350"/>
            </a:xfrm>
            <a:custGeom>
              <a:avLst/>
              <a:gdLst/>
              <a:ahLst/>
              <a:cxnLst/>
              <a:rect l="l" t="t" r="r" b="b"/>
              <a:pathLst>
                <a:path w="15" h="13" extrusionOk="0">
                  <a:moveTo>
                    <a:pt x="5" y="0"/>
                  </a:moveTo>
                  <a:cubicBezTo>
                    <a:pt x="3" y="0"/>
                    <a:pt x="0" y="2"/>
                    <a:pt x="1" y="3"/>
                  </a:cubicBezTo>
                  <a:cubicBezTo>
                    <a:pt x="3" y="5"/>
                    <a:pt x="8" y="11"/>
                    <a:pt x="10" y="13"/>
                  </a:cubicBezTo>
                  <a:cubicBezTo>
                    <a:pt x="10" y="13"/>
                    <a:pt x="12" y="13"/>
                    <a:pt x="13" y="12"/>
                  </a:cubicBezTo>
                  <a:cubicBezTo>
                    <a:pt x="15" y="10"/>
                    <a:pt x="12" y="7"/>
                    <a:pt x="11" y="6"/>
                  </a:cubicBezTo>
                  <a:cubicBezTo>
                    <a:pt x="8" y="3"/>
                    <a:pt x="7" y="0"/>
                    <a:pt x="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98;p1">
              <a:extLst>
                <a:ext uri="{FF2B5EF4-FFF2-40B4-BE49-F238E27FC236}">
                  <a16:creationId xmlns:a16="http://schemas.microsoft.com/office/drawing/2014/main" id="{1008EC10-C877-4A66-8544-7769DF0BF34F}"/>
                </a:ext>
              </a:extLst>
            </p:cNvPr>
            <p:cNvSpPr/>
            <p:nvPr/>
          </p:nvSpPr>
          <p:spPr>
            <a:xfrm>
              <a:off x="14365288" y="2781300"/>
              <a:ext cx="103188" cy="38100"/>
            </a:xfrm>
            <a:custGeom>
              <a:avLst/>
              <a:gdLst/>
              <a:ahLst/>
              <a:cxnLst/>
              <a:rect l="l" t="t" r="r" b="b"/>
              <a:pathLst>
                <a:path w="184" h="68" extrusionOk="0">
                  <a:moveTo>
                    <a:pt x="62" y="65"/>
                  </a:moveTo>
                  <a:cubicBezTo>
                    <a:pt x="62" y="66"/>
                    <a:pt x="62" y="66"/>
                    <a:pt x="62" y="67"/>
                  </a:cubicBezTo>
                  <a:cubicBezTo>
                    <a:pt x="91" y="67"/>
                    <a:pt x="105" y="68"/>
                    <a:pt x="119" y="68"/>
                  </a:cubicBezTo>
                  <a:cubicBezTo>
                    <a:pt x="119" y="66"/>
                    <a:pt x="120" y="65"/>
                    <a:pt x="120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5"/>
                    <a:pt x="131" y="66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44" y="61"/>
                    <a:pt x="156" y="51"/>
                    <a:pt x="164" y="42"/>
                  </a:cubicBezTo>
                  <a:cubicBezTo>
                    <a:pt x="168" y="37"/>
                    <a:pt x="184" y="14"/>
                    <a:pt x="181" y="4"/>
                  </a:cubicBezTo>
                  <a:cubicBezTo>
                    <a:pt x="181" y="4"/>
                    <a:pt x="180" y="5"/>
                    <a:pt x="179" y="5"/>
                  </a:cubicBezTo>
                  <a:cubicBezTo>
                    <a:pt x="165" y="1"/>
                    <a:pt x="165" y="1"/>
                    <a:pt x="165" y="1"/>
                  </a:cubicBezTo>
                  <a:cubicBezTo>
                    <a:pt x="166" y="1"/>
                    <a:pt x="167" y="0"/>
                    <a:pt x="168" y="0"/>
                  </a:cubicBezTo>
                  <a:cubicBezTo>
                    <a:pt x="143" y="1"/>
                    <a:pt x="119" y="6"/>
                    <a:pt x="92" y="5"/>
                  </a:cubicBezTo>
                  <a:cubicBezTo>
                    <a:pt x="72" y="4"/>
                    <a:pt x="45" y="3"/>
                    <a:pt x="25" y="1"/>
                  </a:cubicBezTo>
                  <a:cubicBezTo>
                    <a:pt x="18" y="1"/>
                    <a:pt x="12" y="0"/>
                    <a:pt x="7" y="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1" y="11"/>
                    <a:pt x="0" y="11"/>
                  </a:cubicBezTo>
                  <a:cubicBezTo>
                    <a:pt x="6" y="29"/>
                    <a:pt x="27" y="63"/>
                    <a:pt x="52" y="66"/>
                  </a:cubicBezTo>
                  <a:cubicBezTo>
                    <a:pt x="52" y="66"/>
                    <a:pt x="52" y="65"/>
                    <a:pt x="52" y="64"/>
                  </a:cubicBezTo>
                  <a:lnTo>
                    <a:pt x="62" y="65"/>
                  </a:lnTo>
                  <a:close/>
                  <a:moveTo>
                    <a:pt x="10" y="10"/>
                  </a:moveTo>
                  <a:cubicBezTo>
                    <a:pt x="10" y="8"/>
                    <a:pt x="17" y="11"/>
                    <a:pt x="24" y="11"/>
                  </a:cubicBezTo>
                  <a:cubicBezTo>
                    <a:pt x="35" y="12"/>
                    <a:pt x="54" y="15"/>
                    <a:pt x="62" y="15"/>
                  </a:cubicBezTo>
                  <a:cubicBezTo>
                    <a:pt x="88" y="14"/>
                    <a:pt x="114" y="14"/>
                    <a:pt x="139" y="13"/>
                  </a:cubicBezTo>
                  <a:cubicBezTo>
                    <a:pt x="148" y="12"/>
                    <a:pt x="159" y="10"/>
                    <a:pt x="166" y="8"/>
                  </a:cubicBezTo>
                  <a:cubicBezTo>
                    <a:pt x="182" y="5"/>
                    <a:pt x="154" y="39"/>
                    <a:pt x="146" y="47"/>
                  </a:cubicBezTo>
                  <a:cubicBezTo>
                    <a:pt x="142" y="51"/>
                    <a:pt x="134" y="55"/>
                    <a:pt x="126" y="56"/>
                  </a:cubicBezTo>
                  <a:cubicBezTo>
                    <a:pt x="107" y="59"/>
                    <a:pt x="78" y="57"/>
                    <a:pt x="65" y="58"/>
                  </a:cubicBezTo>
                  <a:cubicBezTo>
                    <a:pt x="42" y="59"/>
                    <a:pt x="9" y="27"/>
                    <a:pt x="10" y="1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199;p1">
              <a:extLst>
                <a:ext uri="{FF2B5EF4-FFF2-40B4-BE49-F238E27FC236}">
                  <a16:creationId xmlns:a16="http://schemas.microsoft.com/office/drawing/2014/main" id="{22BBE025-2E80-4FC4-84D8-2E1772E879CF}"/>
                </a:ext>
              </a:extLst>
            </p:cNvPr>
            <p:cNvSpPr/>
            <p:nvPr/>
          </p:nvSpPr>
          <p:spPr>
            <a:xfrm>
              <a:off x="14289088" y="2306638"/>
              <a:ext cx="250825" cy="481013"/>
            </a:xfrm>
            <a:custGeom>
              <a:avLst/>
              <a:gdLst/>
              <a:ahLst/>
              <a:cxnLst/>
              <a:rect l="l" t="t" r="r" b="b"/>
              <a:pathLst>
                <a:path w="448" h="860" extrusionOk="0">
                  <a:moveTo>
                    <a:pt x="136" y="849"/>
                  </a:moveTo>
                  <a:cubicBezTo>
                    <a:pt x="138" y="848"/>
                    <a:pt x="141" y="848"/>
                    <a:pt x="144" y="849"/>
                  </a:cubicBezTo>
                  <a:cubicBezTo>
                    <a:pt x="144" y="848"/>
                    <a:pt x="144" y="848"/>
                    <a:pt x="144" y="848"/>
                  </a:cubicBezTo>
                  <a:cubicBezTo>
                    <a:pt x="134" y="847"/>
                    <a:pt x="118" y="836"/>
                    <a:pt x="112" y="829"/>
                  </a:cubicBezTo>
                  <a:cubicBezTo>
                    <a:pt x="106" y="821"/>
                    <a:pt x="100" y="813"/>
                    <a:pt x="97" y="804"/>
                  </a:cubicBezTo>
                  <a:cubicBezTo>
                    <a:pt x="101" y="805"/>
                    <a:pt x="105" y="806"/>
                    <a:pt x="108" y="807"/>
                  </a:cubicBezTo>
                  <a:cubicBezTo>
                    <a:pt x="115" y="809"/>
                    <a:pt x="127" y="819"/>
                    <a:pt x="128" y="819"/>
                  </a:cubicBezTo>
                  <a:cubicBezTo>
                    <a:pt x="129" y="819"/>
                    <a:pt x="130" y="815"/>
                    <a:pt x="130" y="814"/>
                  </a:cubicBezTo>
                  <a:cubicBezTo>
                    <a:pt x="130" y="810"/>
                    <a:pt x="121" y="804"/>
                    <a:pt x="118" y="801"/>
                  </a:cubicBezTo>
                  <a:cubicBezTo>
                    <a:pt x="112" y="798"/>
                    <a:pt x="97" y="795"/>
                    <a:pt x="88" y="790"/>
                  </a:cubicBezTo>
                  <a:cubicBezTo>
                    <a:pt x="80" y="786"/>
                    <a:pt x="76" y="778"/>
                    <a:pt x="71" y="768"/>
                  </a:cubicBezTo>
                  <a:cubicBezTo>
                    <a:pt x="65" y="756"/>
                    <a:pt x="64" y="746"/>
                    <a:pt x="63" y="737"/>
                  </a:cubicBezTo>
                  <a:cubicBezTo>
                    <a:pt x="69" y="740"/>
                    <a:pt x="74" y="742"/>
                    <a:pt x="81" y="744"/>
                  </a:cubicBezTo>
                  <a:cubicBezTo>
                    <a:pt x="85" y="746"/>
                    <a:pt x="90" y="748"/>
                    <a:pt x="94" y="751"/>
                  </a:cubicBezTo>
                  <a:cubicBezTo>
                    <a:pt x="100" y="756"/>
                    <a:pt x="105" y="761"/>
                    <a:pt x="105" y="761"/>
                  </a:cubicBezTo>
                  <a:cubicBezTo>
                    <a:pt x="107" y="762"/>
                    <a:pt x="108" y="758"/>
                    <a:pt x="108" y="757"/>
                  </a:cubicBezTo>
                  <a:cubicBezTo>
                    <a:pt x="108" y="753"/>
                    <a:pt x="98" y="742"/>
                    <a:pt x="92" y="739"/>
                  </a:cubicBezTo>
                  <a:cubicBezTo>
                    <a:pt x="83" y="734"/>
                    <a:pt x="71" y="732"/>
                    <a:pt x="62" y="725"/>
                  </a:cubicBezTo>
                  <a:cubicBezTo>
                    <a:pt x="57" y="721"/>
                    <a:pt x="53" y="719"/>
                    <a:pt x="50" y="716"/>
                  </a:cubicBezTo>
                  <a:cubicBezTo>
                    <a:pt x="48" y="712"/>
                    <a:pt x="46" y="708"/>
                    <a:pt x="43" y="698"/>
                  </a:cubicBezTo>
                  <a:cubicBezTo>
                    <a:pt x="40" y="690"/>
                    <a:pt x="40" y="685"/>
                    <a:pt x="40" y="678"/>
                  </a:cubicBezTo>
                  <a:cubicBezTo>
                    <a:pt x="40" y="674"/>
                    <a:pt x="40" y="671"/>
                    <a:pt x="41" y="667"/>
                  </a:cubicBezTo>
                  <a:cubicBezTo>
                    <a:pt x="53" y="674"/>
                    <a:pt x="68" y="681"/>
                    <a:pt x="76" y="686"/>
                  </a:cubicBezTo>
                  <a:cubicBezTo>
                    <a:pt x="79" y="688"/>
                    <a:pt x="85" y="695"/>
                    <a:pt x="88" y="698"/>
                  </a:cubicBezTo>
                  <a:cubicBezTo>
                    <a:pt x="88" y="699"/>
                    <a:pt x="95" y="698"/>
                    <a:pt x="88" y="686"/>
                  </a:cubicBezTo>
                  <a:cubicBezTo>
                    <a:pt x="80" y="672"/>
                    <a:pt x="50" y="665"/>
                    <a:pt x="39" y="652"/>
                  </a:cubicBezTo>
                  <a:cubicBezTo>
                    <a:pt x="34" y="647"/>
                    <a:pt x="26" y="636"/>
                    <a:pt x="25" y="629"/>
                  </a:cubicBezTo>
                  <a:cubicBezTo>
                    <a:pt x="24" y="623"/>
                    <a:pt x="25" y="613"/>
                    <a:pt x="27" y="605"/>
                  </a:cubicBezTo>
                  <a:cubicBezTo>
                    <a:pt x="28" y="607"/>
                    <a:pt x="30" y="609"/>
                    <a:pt x="32" y="610"/>
                  </a:cubicBezTo>
                  <a:cubicBezTo>
                    <a:pt x="36" y="612"/>
                    <a:pt x="46" y="616"/>
                    <a:pt x="55" y="622"/>
                  </a:cubicBezTo>
                  <a:cubicBezTo>
                    <a:pt x="61" y="626"/>
                    <a:pt x="67" y="629"/>
                    <a:pt x="70" y="632"/>
                  </a:cubicBezTo>
                  <a:cubicBezTo>
                    <a:pt x="71" y="633"/>
                    <a:pt x="74" y="631"/>
                    <a:pt x="74" y="630"/>
                  </a:cubicBezTo>
                  <a:cubicBezTo>
                    <a:pt x="76" y="625"/>
                    <a:pt x="65" y="617"/>
                    <a:pt x="52" y="611"/>
                  </a:cubicBezTo>
                  <a:cubicBezTo>
                    <a:pt x="41" y="605"/>
                    <a:pt x="30" y="599"/>
                    <a:pt x="27" y="594"/>
                  </a:cubicBezTo>
                  <a:cubicBezTo>
                    <a:pt x="17" y="582"/>
                    <a:pt x="12" y="560"/>
                    <a:pt x="20" y="544"/>
                  </a:cubicBezTo>
                  <a:cubicBezTo>
                    <a:pt x="24" y="547"/>
                    <a:pt x="28" y="550"/>
                    <a:pt x="33" y="553"/>
                  </a:cubicBezTo>
                  <a:cubicBezTo>
                    <a:pt x="38" y="557"/>
                    <a:pt x="46" y="561"/>
                    <a:pt x="53" y="564"/>
                  </a:cubicBezTo>
                  <a:cubicBezTo>
                    <a:pt x="55" y="565"/>
                    <a:pt x="68" y="574"/>
                    <a:pt x="70" y="574"/>
                  </a:cubicBezTo>
                  <a:cubicBezTo>
                    <a:pt x="81" y="571"/>
                    <a:pt x="63" y="561"/>
                    <a:pt x="47" y="551"/>
                  </a:cubicBezTo>
                  <a:cubicBezTo>
                    <a:pt x="39" y="546"/>
                    <a:pt x="32" y="544"/>
                    <a:pt x="27" y="540"/>
                  </a:cubicBezTo>
                  <a:cubicBezTo>
                    <a:pt x="20" y="532"/>
                    <a:pt x="15" y="517"/>
                    <a:pt x="14" y="507"/>
                  </a:cubicBezTo>
                  <a:cubicBezTo>
                    <a:pt x="13" y="500"/>
                    <a:pt x="13" y="491"/>
                    <a:pt x="15" y="484"/>
                  </a:cubicBezTo>
                  <a:cubicBezTo>
                    <a:pt x="15" y="483"/>
                    <a:pt x="15" y="480"/>
                    <a:pt x="16" y="478"/>
                  </a:cubicBezTo>
                  <a:cubicBezTo>
                    <a:pt x="17" y="480"/>
                    <a:pt x="24" y="486"/>
                    <a:pt x="31" y="490"/>
                  </a:cubicBezTo>
                  <a:cubicBezTo>
                    <a:pt x="42" y="496"/>
                    <a:pt x="63" y="503"/>
                    <a:pt x="71" y="513"/>
                  </a:cubicBezTo>
                  <a:cubicBezTo>
                    <a:pt x="76" y="520"/>
                    <a:pt x="79" y="524"/>
                    <a:pt x="82" y="527"/>
                  </a:cubicBezTo>
                  <a:cubicBezTo>
                    <a:pt x="84" y="529"/>
                    <a:pt x="86" y="528"/>
                    <a:pt x="87" y="524"/>
                  </a:cubicBezTo>
                  <a:cubicBezTo>
                    <a:pt x="88" y="523"/>
                    <a:pt x="87" y="521"/>
                    <a:pt x="86" y="518"/>
                  </a:cubicBezTo>
                  <a:cubicBezTo>
                    <a:pt x="85" y="510"/>
                    <a:pt x="88" y="497"/>
                    <a:pt x="94" y="481"/>
                  </a:cubicBezTo>
                  <a:cubicBezTo>
                    <a:pt x="102" y="457"/>
                    <a:pt x="114" y="429"/>
                    <a:pt x="130" y="402"/>
                  </a:cubicBezTo>
                  <a:cubicBezTo>
                    <a:pt x="141" y="384"/>
                    <a:pt x="152" y="368"/>
                    <a:pt x="161" y="355"/>
                  </a:cubicBezTo>
                  <a:cubicBezTo>
                    <a:pt x="168" y="344"/>
                    <a:pt x="216" y="289"/>
                    <a:pt x="222" y="284"/>
                  </a:cubicBezTo>
                  <a:cubicBezTo>
                    <a:pt x="241" y="269"/>
                    <a:pt x="261" y="243"/>
                    <a:pt x="275" y="224"/>
                  </a:cubicBezTo>
                  <a:cubicBezTo>
                    <a:pt x="279" y="218"/>
                    <a:pt x="290" y="192"/>
                    <a:pt x="290" y="186"/>
                  </a:cubicBezTo>
                  <a:cubicBezTo>
                    <a:pt x="291" y="177"/>
                    <a:pt x="291" y="170"/>
                    <a:pt x="290" y="162"/>
                  </a:cubicBezTo>
                  <a:cubicBezTo>
                    <a:pt x="288" y="148"/>
                    <a:pt x="284" y="138"/>
                    <a:pt x="270" y="131"/>
                  </a:cubicBezTo>
                  <a:cubicBezTo>
                    <a:pt x="261" y="126"/>
                    <a:pt x="252" y="126"/>
                    <a:pt x="248" y="124"/>
                  </a:cubicBezTo>
                  <a:cubicBezTo>
                    <a:pt x="250" y="119"/>
                    <a:pt x="261" y="110"/>
                    <a:pt x="267" y="108"/>
                  </a:cubicBezTo>
                  <a:cubicBezTo>
                    <a:pt x="273" y="107"/>
                    <a:pt x="291" y="104"/>
                    <a:pt x="299" y="111"/>
                  </a:cubicBezTo>
                  <a:cubicBezTo>
                    <a:pt x="313" y="124"/>
                    <a:pt x="311" y="128"/>
                    <a:pt x="312" y="152"/>
                  </a:cubicBezTo>
                  <a:cubicBezTo>
                    <a:pt x="312" y="157"/>
                    <a:pt x="314" y="158"/>
                    <a:pt x="316" y="156"/>
                  </a:cubicBezTo>
                  <a:cubicBezTo>
                    <a:pt x="319" y="154"/>
                    <a:pt x="321" y="128"/>
                    <a:pt x="322" y="126"/>
                  </a:cubicBezTo>
                  <a:cubicBezTo>
                    <a:pt x="331" y="84"/>
                    <a:pt x="365" y="57"/>
                    <a:pt x="372" y="23"/>
                  </a:cubicBezTo>
                  <a:cubicBezTo>
                    <a:pt x="378" y="35"/>
                    <a:pt x="380" y="50"/>
                    <a:pt x="379" y="64"/>
                  </a:cubicBezTo>
                  <a:cubicBezTo>
                    <a:pt x="379" y="82"/>
                    <a:pt x="372" y="95"/>
                    <a:pt x="363" y="110"/>
                  </a:cubicBezTo>
                  <a:cubicBezTo>
                    <a:pt x="361" y="114"/>
                    <a:pt x="347" y="134"/>
                    <a:pt x="343" y="144"/>
                  </a:cubicBezTo>
                  <a:cubicBezTo>
                    <a:pt x="341" y="146"/>
                    <a:pt x="343" y="148"/>
                    <a:pt x="345" y="148"/>
                  </a:cubicBezTo>
                  <a:cubicBezTo>
                    <a:pt x="352" y="143"/>
                    <a:pt x="377" y="105"/>
                    <a:pt x="381" y="99"/>
                  </a:cubicBezTo>
                  <a:cubicBezTo>
                    <a:pt x="383" y="97"/>
                    <a:pt x="385" y="89"/>
                    <a:pt x="387" y="82"/>
                  </a:cubicBezTo>
                  <a:cubicBezTo>
                    <a:pt x="397" y="90"/>
                    <a:pt x="398" y="131"/>
                    <a:pt x="391" y="143"/>
                  </a:cubicBezTo>
                  <a:cubicBezTo>
                    <a:pt x="382" y="160"/>
                    <a:pt x="379" y="166"/>
                    <a:pt x="365" y="182"/>
                  </a:cubicBezTo>
                  <a:cubicBezTo>
                    <a:pt x="362" y="186"/>
                    <a:pt x="343" y="207"/>
                    <a:pt x="346" y="209"/>
                  </a:cubicBezTo>
                  <a:cubicBezTo>
                    <a:pt x="347" y="210"/>
                    <a:pt x="347" y="211"/>
                    <a:pt x="348" y="211"/>
                  </a:cubicBezTo>
                  <a:cubicBezTo>
                    <a:pt x="352" y="210"/>
                    <a:pt x="357" y="203"/>
                    <a:pt x="360" y="201"/>
                  </a:cubicBezTo>
                  <a:cubicBezTo>
                    <a:pt x="368" y="194"/>
                    <a:pt x="381" y="181"/>
                    <a:pt x="390" y="166"/>
                  </a:cubicBezTo>
                  <a:cubicBezTo>
                    <a:pt x="391" y="164"/>
                    <a:pt x="393" y="161"/>
                    <a:pt x="394" y="158"/>
                  </a:cubicBezTo>
                  <a:cubicBezTo>
                    <a:pt x="404" y="214"/>
                    <a:pt x="366" y="232"/>
                    <a:pt x="337" y="251"/>
                  </a:cubicBezTo>
                  <a:cubicBezTo>
                    <a:pt x="331" y="255"/>
                    <a:pt x="334" y="259"/>
                    <a:pt x="337" y="258"/>
                  </a:cubicBezTo>
                  <a:cubicBezTo>
                    <a:pt x="339" y="257"/>
                    <a:pt x="342" y="257"/>
                    <a:pt x="343" y="256"/>
                  </a:cubicBezTo>
                  <a:cubicBezTo>
                    <a:pt x="347" y="254"/>
                    <a:pt x="358" y="248"/>
                    <a:pt x="362" y="245"/>
                  </a:cubicBezTo>
                  <a:cubicBezTo>
                    <a:pt x="371" y="239"/>
                    <a:pt x="378" y="234"/>
                    <a:pt x="383" y="228"/>
                  </a:cubicBezTo>
                  <a:cubicBezTo>
                    <a:pt x="386" y="255"/>
                    <a:pt x="359" y="271"/>
                    <a:pt x="353" y="279"/>
                  </a:cubicBezTo>
                  <a:cubicBezTo>
                    <a:pt x="340" y="271"/>
                    <a:pt x="324" y="271"/>
                    <a:pt x="312" y="282"/>
                  </a:cubicBezTo>
                  <a:cubicBezTo>
                    <a:pt x="331" y="281"/>
                    <a:pt x="335" y="281"/>
                    <a:pt x="341" y="283"/>
                  </a:cubicBezTo>
                  <a:cubicBezTo>
                    <a:pt x="355" y="289"/>
                    <a:pt x="363" y="298"/>
                    <a:pt x="364" y="313"/>
                  </a:cubicBezTo>
                  <a:cubicBezTo>
                    <a:pt x="365" y="323"/>
                    <a:pt x="354" y="342"/>
                    <a:pt x="346" y="347"/>
                  </a:cubicBezTo>
                  <a:cubicBezTo>
                    <a:pt x="350" y="325"/>
                    <a:pt x="327" y="305"/>
                    <a:pt x="305" y="305"/>
                  </a:cubicBezTo>
                  <a:cubicBezTo>
                    <a:pt x="277" y="305"/>
                    <a:pt x="268" y="310"/>
                    <a:pt x="246" y="325"/>
                  </a:cubicBezTo>
                  <a:cubicBezTo>
                    <a:pt x="185" y="378"/>
                    <a:pt x="132" y="455"/>
                    <a:pt x="124" y="538"/>
                  </a:cubicBezTo>
                  <a:cubicBezTo>
                    <a:pt x="122" y="558"/>
                    <a:pt x="120" y="590"/>
                    <a:pt x="125" y="619"/>
                  </a:cubicBezTo>
                  <a:cubicBezTo>
                    <a:pt x="127" y="630"/>
                    <a:pt x="129" y="635"/>
                    <a:pt x="132" y="644"/>
                  </a:cubicBezTo>
                  <a:cubicBezTo>
                    <a:pt x="138" y="658"/>
                    <a:pt x="150" y="692"/>
                    <a:pt x="156" y="707"/>
                  </a:cubicBezTo>
                  <a:cubicBezTo>
                    <a:pt x="158" y="713"/>
                    <a:pt x="177" y="753"/>
                    <a:pt x="182" y="768"/>
                  </a:cubicBezTo>
                  <a:cubicBezTo>
                    <a:pt x="179" y="784"/>
                    <a:pt x="179" y="803"/>
                    <a:pt x="191" y="817"/>
                  </a:cubicBezTo>
                  <a:cubicBezTo>
                    <a:pt x="204" y="819"/>
                    <a:pt x="195" y="802"/>
                    <a:pt x="194" y="796"/>
                  </a:cubicBezTo>
                  <a:cubicBezTo>
                    <a:pt x="192" y="786"/>
                    <a:pt x="192" y="777"/>
                    <a:pt x="194" y="768"/>
                  </a:cubicBezTo>
                  <a:cubicBezTo>
                    <a:pt x="201" y="738"/>
                    <a:pt x="219" y="708"/>
                    <a:pt x="221" y="676"/>
                  </a:cubicBezTo>
                  <a:cubicBezTo>
                    <a:pt x="221" y="675"/>
                    <a:pt x="221" y="674"/>
                    <a:pt x="223" y="676"/>
                  </a:cubicBezTo>
                  <a:cubicBezTo>
                    <a:pt x="227" y="680"/>
                    <a:pt x="230" y="684"/>
                    <a:pt x="233" y="689"/>
                  </a:cubicBezTo>
                  <a:cubicBezTo>
                    <a:pt x="229" y="690"/>
                    <a:pt x="229" y="690"/>
                    <a:pt x="229" y="690"/>
                  </a:cubicBezTo>
                  <a:cubicBezTo>
                    <a:pt x="230" y="692"/>
                    <a:pt x="230" y="695"/>
                    <a:pt x="230" y="698"/>
                  </a:cubicBezTo>
                  <a:cubicBezTo>
                    <a:pt x="230" y="701"/>
                    <a:pt x="230" y="703"/>
                    <a:pt x="230" y="706"/>
                  </a:cubicBezTo>
                  <a:cubicBezTo>
                    <a:pt x="229" y="720"/>
                    <a:pt x="226" y="734"/>
                    <a:pt x="220" y="746"/>
                  </a:cubicBezTo>
                  <a:cubicBezTo>
                    <a:pt x="220" y="746"/>
                    <a:pt x="220" y="746"/>
                    <a:pt x="220" y="746"/>
                  </a:cubicBezTo>
                  <a:cubicBezTo>
                    <a:pt x="219" y="747"/>
                    <a:pt x="219" y="750"/>
                    <a:pt x="218" y="752"/>
                  </a:cubicBezTo>
                  <a:cubicBezTo>
                    <a:pt x="217" y="754"/>
                    <a:pt x="217" y="757"/>
                    <a:pt x="216" y="759"/>
                  </a:cubicBezTo>
                  <a:cubicBezTo>
                    <a:pt x="213" y="773"/>
                    <a:pt x="211" y="790"/>
                    <a:pt x="212" y="795"/>
                  </a:cubicBezTo>
                  <a:cubicBezTo>
                    <a:pt x="212" y="797"/>
                    <a:pt x="214" y="798"/>
                    <a:pt x="215" y="797"/>
                  </a:cubicBezTo>
                  <a:cubicBezTo>
                    <a:pt x="216" y="797"/>
                    <a:pt x="217" y="795"/>
                    <a:pt x="217" y="794"/>
                  </a:cubicBezTo>
                  <a:cubicBezTo>
                    <a:pt x="216" y="789"/>
                    <a:pt x="218" y="773"/>
                    <a:pt x="220" y="761"/>
                  </a:cubicBezTo>
                  <a:cubicBezTo>
                    <a:pt x="221" y="758"/>
                    <a:pt x="222" y="756"/>
                    <a:pt x="222" y="754"/>
                  </a:cubicBezTo>
                  <a:cubicBezTo>
                    <a:pt x="223" y="752"/>
                    <a:pt x="224" y="750"/>
                    <a:pt x="224" y="748"/>
                  </a:cubicBezTo>
                  <a:cubicBezTo>
                    <a:pt x="224" y="748"/>
                    <a:pt x="224" y="748"/>
                    <a:pt x="224" y="748"/>
                  </a:cubicBezTo>
                  <a:cubicBezTo>
                    <a:pt x="230" y="736"/>
                    <a:pt x="234" y="721"/>
                    <a:pt x="235" y="706"/>
                  </a:cubicBezTo>
                  <a:cubicBezTo>
                    <a:pt x="235" y="703"/>
                    <a:pt x="235" y="700"/>
                    <a:pt x="235" y="697"/>
                  </a:cubicBezTo>
                  <a:cubicBezTo>
                    <a:pt x="235" y="695"/>
                    <a:pt x="234" y="693"/>
                    <a:pt x="234" y="691"/>
                  </a:cubicBezTo>
                  <a:cubicBezTo>
                    <a:pt x="243" y="705"/>
                    <a:pt x="251" y="723"/>
                    <a:pt x="252" y="746"/>
                  </a:cubicBezTo>
                  <a:cubicBezTo>
                    <a:pt x="253" y="760"/>
                    <a:pt x="252" y="775"/>
                    <a:pt x="249" y="789"/>
                  </a:cubicBezTo>
                  <a:cubicBezTo>
                    <a:pt x="248" y="798"/>
                    <a:pt x="245" y="812"/>
                    <a:pt x="244" y="817"/>
                  </a:cubicBezTo>
                  <a:cubicBezTo>
                    <a:pt x="244" y="820"/>
                    <a:pt x="249" y="820"/>
                    <a:pt x="252" y="819"/>
                  </a:cubicBezTo>
                  <a:cubicBezTo>
                    <a:pt x="255" y="812"/>
                    <a:pt x="257" y="803"/>
                    <a:pt x="259" y="794"/>
                  </a:cubicBezTo>
                  <a:cubicBezTo>
                    <a:pt x="263" y="782"/>
                    <a:pt x="270" y="761"/>
                    <a:pt x="271" y="757"/>
                  </a:cubicBezTo>
                  <a:cubicBezTo>
                    <a:pt x="277" y="739"/>
                    <a:pt x="281" y="718"/>
                    <a:pt x="284" y="699"/>
                  </a:cubicBezTo>
                  <a:cubicBezTo>
                    <a:pt x="286" y="684"/>
                    <a:pt x="291" y="661"/>
                    <a:pt x="294" y="637"/>
                  </a:cubicBezTo>
                  <a:cubicBezTo>
                    <a:pt x="297" y="613"/>
                    <a:pt x="298" y="589"/>
                    <a:pt x="299" y="573"/>
                  </a:cubicBezTo>
                  <a:cubicBezTo>
                    <a:pt x="302" y="499"/>
                    <a:pt x="266" y="390"/>
                    <a:pt x="225" y="363"/>
                  </a:cubicBezTo>
                  <a:cubicBezTo>
                    <a:pt x="238" y="350"/>
                    <a:pt x="252" y="337"/>
                    <a:pt x="260" y="330"/>
                  </a:cubicBezTo>
                  <a:cubicBezTo>
                    <a:pt x="261" y="330"/>
                    <a:pt x="261" y="329"/>
                    <a:pt x="262" y="329"/>
                  </a:cubicBezTo>
                  <a:cubicBezTo>
                    <a:pt x="280" y="346"/>
                    <a:pt x="310" y="390"/>
                    <a:pt x="320" y="412"/>
                  </a:cubicBezTo>
                  <a:cubicBezTo>
                    <a:pt x="328" y="430"/>
                    <a:pt x="343" y="453"/>
                    <a:pt x="347" y="473"/>
                  </a:cubicBezTo>
                  <a:cubicBezTo>
                    <a:pt x="349" y="482"/>
                    <a:pt x="351" y="488"/>
                    <a:pt x="352" y="500"/>
                  </a:cubicBezTo>
                  <a:cubicBezTo>
                    <a:pt x="353" y="507"/>
                    <a:pt x="352" y="512"/>
                    <a:pt x="353" y="516"/>
                  </a:cubicBezTo>
                  <a:cubicBezTo>
                    <a:pt x="352" y="518"/>
                    <a:pt x="352" y="519"/>
                    <a:pt x="353" y="520"/>
                  </a:cubicBezTo>
                  <a:cubicBezTo>
                    <a:pt x="353" y="520"/>
                    <a:pt x="353" y="520"/>
                    <a:pt x="353" y="520"/>
                  </a:cubicBezTo>
                  <a:cubicBezTo>
                    <a:pt x="353" y="523"/>
                    <a:pt x="354" y="523"/>
                    <a:pt x="357" y="519"/>
                  </a:cubicBezTo>
                  <a:cubicBezTo>
                    <a:pt x="359" y="517"/>
                    <a:pt x="364" y="513"/>
                    <a:pt x="373" y="506"/>
                  </a:cubicBezTo>
                  <a:cubicBezTo>
                    <a:pt x="390" y="493"/>
                    <a:pt x="405" y="486"/>
                    <a:pt x="419" y="474"/>
                  </a:cubicBezTo>
                  <a:cubicBezTo>
                    <a:pt x="423" y="471"/>
                    <a:pt x="427" y="463"/>
                    <a:pt x="430" y="461"/>
                  </a:cubicBezTo>
                  <a:cubicBezTo>
                    <a:pt x="430" y="461"/>
                    <a:pt x="431" y="461"/>
                    <a:pt x="432" y="461"/>
                  </a:cubicBezTo>
                  <a:cubicBezTo>
                    <a:pt x="433" y="462"/>
                    <a:pt x="433" y="465"/>
                    <a:pt x="433" y="471"/>
                  </a:cubicBezTo>
                  <a:cubicBezTo>
                    <a:pt x="432" y="480"/>
                    <a:pt x="431" y="489"/>
                    <a:pt x="428" y="498"/>
                  </a:cubicBezTo>
                  <a:cubicBezTo>
                    <a:pt x="425" y="506"/>
                    <a:pt x="419" y="518"/>
                    <a:pt x="413" y="525"/>
                  </a:cubicBezTo>
                  <a:cubicBezTo>
                    <a:pt x="392" y="545"/>
                    <a:pt x="362" y="561"/>
                    <a:pt x="362" y="566"/>
                  </a:cubicBezTo>
                  <a:cubicBezTo>
                    <a:pt x="362" y="568"/>
                    <a:pt x="360" y="571"/>
                    <a:pt x="365" y="569"/>
                  </a:cubicBezTo>
                  <a:cubicBezTo>
                    <a:pt x="368" y="567"/>
                    <a:pt x="374" y="562"/>
                    <a:pt x="378" y="559"/>
                  </a:cubicBezTo>
                  <a:cubicBezTo>
                    <a:pt x="384" y="555"/>
                    <a:pt x="411" y="536"/>
                    <a:pt x="416" y="531"/>
                  </a:cubicBezTo>
                  <a:cubicBezTo>
                    <a:pt x="423" y="524"/>
                    <a:pt x="427" y="519"/>
                    <a:pt x="430" y="514"/>
                  </a:cubicBezTo>
                  <a:cubicBezTo>
                    <a:pt x="436" y="522"/>
                    <a:pt x="434" y="544"/>
                    <a:pt x="432" y="551"/>
                  </a:cubicBezTo>
                  <a:cubicBezTo>
                    <a:pt x="428" y="563"/>
                    <a:pt x="420" y="577"/>
                    <a:pt x="413" y="589"/>
                  </a:cubicBezTo>
                  <a:cubicBezTo>
                    <a:pt x="403" y="606"/>
                    <a:pt x="359" y="620"/>
                    <a:pt x="349" y="638"/>
                  </a:cubicBezTo>
                  <a:cubicBezTo>
                    <a:pt x="349" y="638"/>
                    <a:pt x="352" y="640"/>
                    <a:pt x="353" y="639"/>
                  </a:cubicBezTo>
                  <a:cubicBezTo>
                    <a:pt x="374" y="623"/>
                    <a:pt x="412" y="610"/>
                    <a:pt x="426" y="585"/>
                  </a:cubicBezTo>
                  <a:cubicBezTo>
                    <a:pt x="426" y="585"/>
                    <a:pt x="426" y="584"/>
                    <a:pt x="427" y="584"/>
                  </a:cubicBezTo>
                  <a:cubicBezTo>
                    <a:pt x="430" y="594"/>
                    <a:pt x="425" y="613"/>
                    <a:pt x="424" y="617"/>
                  </a:cubicBezTo>
                  <a:cubicBezTo>
                    <a:pt x="420" y="628"/>
                    <a:pt x="413" y="637"/>
                    <a:pt x="405" y="645"/>
                  </a:cubicBezTo>
                  <a:cubicBezTo>
                    <a:pt x="395" y="655"/>
                    <a:pt x="395" y="656"/>
                    <a:pt x="379" y="666"/>
                  </a:cubicBezTo>
                  <a:cubicBezTo>
                    <a:pt x="360" y="679"/>
                    <a:pt x="352" y="686"/>
                    <a:pt x="351" y="687"/>
                  </a:cubicBezTo>
                  <a:cubicBezTo>
                    <a:pt x="349" y="693"/>
                    <a:pt x="350" y="694"/>
                    <a:pt x="353" y="692"/>
                  </a:cubicBezTo>
                  <a:cubicBezTo>
                    <a:pt x="355" y="691"/>
                    <a:pt x="359" y="688"/>
                    <a:pt x="363" y="685"/>
                  </a:cubicBezTo>
                  <a:cubicBezTo>
                    <a:pt x="369" y="680"/>
                    <a:pt x="385" y="672"/>
                    <a:pt x="401" y="661"/>
                  </a:cubicBezTo>
                  <a:cubicBezTo>
                    <a:pt x="404" y="658"/>
                    <a:pt x="407" y="656"/>
                    <a:pt x="410" y="653"/>
                  </a:cubicBezTo>
                  <a:cubicBezTo>
                    <a:pt x="410" y="682"/>
                    <a:pt x="403" y="695"/>
                    <a:pt x="395" y="707"/>
                  </a:cubicBezTo>
                  <a:cubicBezTo>
                    <a:pt x="388" y="716"/>
                    <a:pt x="375" y="725"/>
                    <a:pt x="363" y="732"/>
                  </a:cubicBezTo>
                  <a:cubicBezTo>
                    <a:pt x="354" y="737"/>
                    <a:pt x="347" y="741"/>
                    <a:pt x="343" y="745"/>
                  </a:cubicBezTo>
                  <a:cubicBezTo>
                    <a:pt x="340" y="747"/>
                    <a:pt x="335" y="751"/>
                    <a:pt x="334" y="753"/>
                  </a:cubicBezTo>
                  <a:cubicBezTo>
                    <a:pt x="329" y="760"/>
                    <a:pt x="333" y="763"/>
                    <a:pt x="343" y="753"/>
                  </a:cubicBezTo>
                  <a:cubicBezTo>
                    <a:pt x="346" y="750"/>
                    <a:pt x="360" y="742"/>
                    <a:pt x="365" y="740"/>
                  </a:cubicBezTo>
                  <a:cubicBezTo>
                    <a:pt x="372" y="737"/>
                    <a:pt x="380" y="733"/>
                    <a:pt x="387" y="728"/>
                  </a:cubicBezTo>
                  <a:cubicBezTo>
                    <a:pt x="386" y="750"/>
                    <a:pt x="377" y="761"/>
                    <a:pt x="365" y="773"/>
                  </a:cubicBezTo>
                  <a:cubicBezTo>
                    <a:pt x="350" y="788"/>
                    <a:pt x="328" y="788"/>
                    <a:pt x="311" y="806"/>
                  </a:cubicBezTo>
                  <a:cubicBezTo>
                    <a:pt x="308" y="809"/>
                    <a:pt x="311" y="811"/>
                    <a:pt x="314" y="810"/>
                  </a:cubicBezTo>
                  <a:cubicBezTo>
                    <a:pt x="321" y="807"/>
                    <a:pt x="336" y="799"/>
                    <a:pt x="338" y="798"/>
                  </a:cubicBezTo>
                  <a:cubicBezTo>
                    <a:pt x="345" y="795"/>
                    <a:pt x="351" y="792"/>
                    <a:pt x="356" y="789"/>
                  </a:cubicBezTo>
                  <a:cubicBezTo>
                    <a:pt x="355" y="800"/>
                    <a:pt x="348" y="813"/>
                    <a:pt x="341" y="821"/>
                  </a:cubicBezTo>
                  <a:cubicBezTo>
                    <a:pt x="336" y="826"/>
                    <a:pt x="314" y="844"/>
                    <a:pt x="305" y="849"/>
                  </a:cubicBezTo>
                  <a:cubicBezTo>
                    <a:pt x="307" y="849"/>
                    <a:pt x="310" y="848"/>
                    <a:pt x="312" y="848"/>
                  </a:cubicBezTo>
                  <a:cubicBezTo>
                    <a:pt x="316" y="848"/>
                    <a:pt x="317" y="850"/>
                    <a:pt x="318" y="853"/>
                  </a:cubicBezTo>
                  <a:cubicBezTo>
                    <a:pt x="325" y="849"/>
                    <a:pt x="340" y="837"/>
                    <a:pt x="348" y="828"/>
                  </a:cubicBezTo>
                  <a:cubicBezTo>
                    <a:pt x="360" y="814"/>
                    <a:pt x="366" y="799"/>
                    <a:pt x="366" y="783"/>
                  </a:cubicBezTo>
                  <a:cubicBezTo>
                    <a:pt x="370" y="781"/>
                    <a:pt x="374" y="777"/>
                    <a:pt x="379" y="773"/>
                  </a:cubicBezTo>
                  <a:cubicBezTo>
                    <a:pt x="393" y="760"/>
                    <a:pt x="397" y="743"/>
                    <a:pt x="397" y="719"/>
                  </a:cubicBezTo>
                  <a:cubicBezTo>
                    <a:pt x="401" y="716"/>
                    <a:pt x="404" y="712"/>
                    <a:pt x="406" y="707"/>
                  </a:cubicBezTo>
                  <a:cubicBezTo>
                    <a:pt x="414" y="695"/>
                    <a:pt x="423" y="663"/>
                    <a:pt x="418" y="644"/>
                  </a:cubicBezTo>
                  <a:cubicBezTo>
                    <a:pt x="434" y="623"/>
                    <a:pt x="444" y="592"/>
                    <a:pt x="435" y="568"/>
                  </a:cubicBezTo>
                  <a:cubicBezTo>
                    <a:pt x="444" y="548"/>
                    <a:pt x="448" y="525"/>
                    <a:pt x="436" y="501"/>
                  </a:cubicBezTo>
                  <a:cubicBezTo>
                    <a:pt x="437" y="499"/>
                    <a:pt x="438" y="497"/>
                    <a:pt x="438" y="495"/>
                  </a:cubicBezTo>
                  <a:cubicBezTo>
                    <a:pt x="442" y="483"/>
                    <a:pt x="442" y="455"/>
                    <a:pt x="434" y="445"/>
                  </a:cubicBezTo>
                  <a:cubicBezTo>
                    <a:pt x="427" y="448"/>
                    <a:pt x="422" y="461"/>
                    <a:pt x="407" y="470"/>
                  </a:cubicBezTo>
                  <a:cubicBezTo>
                    <a:pt x="396" y="478"/>
                    <a:pt x="384" y="487"/>
                    <a:pt x="373" y="495"/>
                  </a:cubicBezTo>
                  <a:cubicBezTo>
                    <a:pt x="368" y="498"/>
                    <a:pt x="364" y="501"/>
                    <a:pt x="361" y="504"/>
                  </a:cubicBezTo>
                  <a:cubicBezTo>
                    <a:pt x="360" y="488"/>
                    <a:pt x="359" y="472"/>
                    <a:pt x="354" y="460"/>
                  </a:cubicBezTo>
                  <a:cubicBezTo>
                    <a:pt x="342" y="432"/>
                    <a:pt x="335" y="416"/>
                    <a:pt x="321" y="391"/>
                  </a:cubicBezTo>
                  <a:cubicBezTo>
                    <a:pt x="308" y="371"/>
                    <a:pt x="289" y="339"/>
                    <a:pt x="271" y="323"/>
                  </a:cubicBezTo>
                  <a:cubicBezTo>
                    <a:pt x="284" y="316"/>
                    <a:pt x="302" y="312"/>
                    <a:pt x="319" y="320"/>
                  </a:cubicBezTo>
                  <a:cubicBezTo>
                    <a:pt x="334" y="327"/>
                    <a:pt x="340" y="346"/>
                    <a:pt x="338" y="360"/>
                  </a:cubicBezTo>
                  <a:cubicBezTo>
                    <a:pt x="360" y="354"/>
                    <a:pt x="379" y="320"/>
                    <a:pt x="373" y="304"/>
                  </a:cubicBezTo>
                  <a:cubicBezTo>
                    <a:pt x="370" y="296"/>
                    <a:pt x="365" y="289"/>
                    <a:pt x="360" y="284"/>
                  </a:cubicBezTo>
                  <a:cubicBezTo>
                    <a:pt x="360" y="284"/>
                    <a:pt x="360" y="284"/>
                    <a:pt x="360" y="284"/>
                  </a:cubicBezTo>
                  <a:cubicBezTo>
                    <a:pt x="375" y="277"/>
                    <a:pt x="395" y="254"/>
                    <a:pt x="394" y="213"/>
                  </a:cubicBezTo>
                  <a:cubicBezTo>
                    <a:pt x="396" y="210"/>
                    <a:pt x="397" y="207"/>
                    <a:pt x="399" y="203"/>
                  </a:cubicBezTo>
                  <a:cubicBezTo>
                    <a:pt x="402" y="195"/>
                    <a:pt x="404" y="184"/>
                    <a:pt x="405" y="175"/>
                  </a:cubicBezTo>
                  <a:cubicBezTo>
                    <a:pt x="406" y="168"/>
                    <a:pt x="403" y="150"/>
                    <a:pt x="402" y="142"/>
                  </a:cubicBezTo>
                  <a:cubicBezTo>
                    <a:pt x="403" y="137"/>
                    <a:pt x="405" y="132"/>
                    <a:pt x="405" y="129"/>
                  </a:cubicBezTo>
                  <a:cubicBezTo>
                    <a:pt x="408" y="109"/>
                    <a:pt x="406" y="85"/>
                    <a:pt x="390" y="67"/>
                  </a:cubicBezTo>
                  <a:cubicBezTo>
                    <a:pt x="390" y="66"/>
                    <a:pt x="390" y="64"/>
                    <a:pt x="390" y="63"/>
                  </a:cubicBezTo>
                  <a:cubicBezTo>
                    <a:pt x="390" y="36"/>
                    <a:pt x="383" y="10"/>
                    <a:pt x="363" y="0"/>
                  </a:cubicBezTo>
                  <a:cubicBezTo>
                    <a:pt x="363" y="48"/>
                    <a:pt x="326" y="71"/>
                    <a:pt x="316" y="117"/>
                  </a:cubicBezTo>
                  <a:cubicBezTo>
                    <a:pt x="306" y="100"/>
                    <a:pt x="285" y="89"/>
                    <a:pt x="264" y="98"/>
                  </a:cubicBezTo>
                  <a:cubicBezTo>
                    <a:pt x="248" y="104"/>
                    <a:pt x="240" y="111"/>
                    <a:pt x="232" y="129"/>
                  </a:cubicBezTo>
                  <a:cubicBezTo>
                    <a:pt x="226" y="142"/>
                    <a:pt x="240" y="138"/>
                    <a:pt x="247" y="137"/>
                  </a:cubicBezTo>
                  <a:cubicBezTo>
                    <a:pt x="294" y="131"/>
                    <a:pt x="278" y="194"/>
                    <a:pt x="274" y="202"/>
                  </a:cubicBezTo>
                  <a:cubicBezTo>
                    <a:pt x="265" y="220"/>
                    <a:pt x="259" y="230"/>
                    <a:pt x="238" y="250"/>
                  </a:cubicBezTo>
                  <a:cubicBezTo>
                    <a:pt x="234" y="255"/>
                    <a:pt x="227" y="261"/>
                    <a:pt x="220" y="268"/>
                  </a:cubicBezTo>
                  <a:cubicBezTo>
                    <a:pt x="200" y="247"/>
                    <a:pt x="176" y="209"/>
                    <a:pt x="175" y="176"/>
                  </a:cubicBezTo>
                  <a:cubicBezTo>
                    <a:pt x="175" y="163"/>
                    <a:pt x="178" y="154"/>
                    <a:pt x="185" y="147"/>
                  </a:cubicBezTo>
                  <a:cubicBezTo>
                    <a:pt x="198" y="133"/>
                    <a:pt x="214" y="150"/>
                    <a:pt x="219" y="148"/>
                  </a:cubicBezTo>
                  <a:cubicBezTo>
                    <a:pt x="214" y="138"/>
                    <a:pt x="211" y="113"/>
                    <a:pt x="181" y="107"/>
                  </a:cubicBezTo>
                  <a:cubicBezTo>
                    <a:pt x="162" y="103"/>
                    <a:pt x="147" y="110"/>
                    <a:pt x="137" y="121"/>
                  </a:cubicBezTo>
                  <a:cubicBezTo>
                    <a:pt x="135" y="125"/>
                    <a:pt x="131" y="129"/>
                    <a:pt x="129" y="134"/>
                  </a:cubicBezTo>
                  <a:cubicBezTo>
                    <a:pt x="128" y="130"/>
                    <a:pt x="128" y="127"/>
                    <a:pt x="128" y="125"/>
                  </a:cubicBezTo>
                  <a:cubicBezTo>
                    <a:pt x="126" y="108"/>
                    <a:pt x="116" y="91"/>
                    <a:pt x="112" y="78"/>
                  </a:cubicBezTo>
                  <a:cubicBezTo>
                    <a:pt x="110" y="68"/>
                    <a:pt x="107" y="56"/>
                    <a:pt x="108" y="44"/>
                  </a:cubicBezTo>
                  <a:cubicBezTo>
                    <a:pt x="108" y="34"/>
                    <a:pt x="108" y="12"/>
                    <a:pt x="113" y="1"/>
                  </a:cubicBezTo>
                  <a:cubicBezTo>
                    <a:pt x="95" y="13"/>
                    <a:pt x="83" y="25"/>
                    <a:pt x="76" y="52"/>
                  </a:cubicBezTo>
                  <a:cubicBezTo>
                    <a:pt x="58" y="69"/>
                    <a:pt x="43" y="97"/>
                    <a:pt x="46" y="128"/>
                  </a:cubicBezTo>
                  <a:cubicBezTo>
                    <a:pt x="47" y="131"/>
                    <a:pt x="48" y="134"/>
                    <a:pt x="49" y="137"/>
                  </a:cubicBezTo>
                  <a:cubicBezTo>
                    <a:pt x="36" y="153"/>
                    <a:pt x="38" y="185"/>
                    <a:pt x="44" y="200"/>
                  </a:cubicBezTo>
                  <a:cubicBezTo>
                    <a:pt x="46" y="204"/>
                    <a:pt x="48" y="208"/>
                    <a:pt x="51" y="212"/>
                  </a:cubicBezTo>
                  <a:cubicBezTo>
                    <a:pt x="46" y="232"/>
                    <a:pt x="49" y="243"/>
                    <a:pt x="52" y="254"/>
                  </a:cubicBezTo>
                  <a:cubicBezTo>
                    <a:pt x="54" y="262"/>
                    <a:pt x="63" y="272"/>
                    <a:pt x="74" y="278"/>
                  </a:cubicBezTo>
                  <a:cubicBezTo>
                    <a:pt x="55" y="283"/>
                    <a:pt x="52" y="296"/>
                    <a:pt x="53" y="314"/>
                  </a:cubicBezTo>
                  <a:cubicBezTo>
                    <a:pt x="54" y="322"/>
                    <a:pt x="60" y="335"/>
                    <a:pt x="67" y="343"/>
                  </a:cubicBezTo>
                  <a:cubicBezTo>
                    <a:pt x="70" y="346"/>
                    <a:pt x="90" y="363"/>
                    <a:pt x="90" y="358"/>
                  </a:cubicBezTo>
                  <a:cubicBezTo>
                    <a:pt x="90" y="346"/>
                    <a:pt x="87" y="330"/>
                    <a:pt x="102" y="322"/>
                  </a:cubicBezTo>
                  <a:cubicBezTo>
                    <a:pt x="109" y="319"/>
                    <a:pt x="125" y="319"/>
                    <a:pt x="133" y="321"/>
                  </a:cubicBezTo>
                  <a:cubicBezTo>
                    <a:pt x="143" y="324"/>
                    <a:pt x="155" y="334"/>
                    <a:pt x="160" y="338"/>
                  </a:cubicBezTo>
                  <a:cubicBezTo>
                    <a:pt x="145" y="358"/>
                    <a:pt x="128" y="382"/>
                    <a:pt x="112" y="410"/>
                  </a:cubicBezTo>
                  <a:cubicBezTo>
                    <a:pt x="103" y="425"/>
                    <a:pt x="81" y="475"/>
                    <a:pt x="76" y="505"/>
                  </a:cubicBezTo>
                  <a:cubicBezTo>
                    <a:pt x="75" y="505"/>
                    <a:pt x="75" y="505"/>
                    <a:pt x="75" y="505"/>
                  </a:cubicBezTo>
                  <a:cubicBezTo>
                    <a:pt x="62" y="490"/>
                    <a:pt x="55" y="491"/>
                    <a:pt x="38" y="483"/>
                  </a:cubicBezTo>
                  <a:cubicBezTo>
                    <a:pt x="16" y="472"/>
                    <a:pt x="19" y="462"/>
                    <a:pt x="12" y="461"/>
                  </a:cubicBezTo>
                  <a:cubicBezTo>
                    <a:pt x="7" y="485"/>
                    <a:pt x="0" y="500"/>
                    <a:pt x="8" y="525"/>
                  </a:cubicBezTo>
                  <a:cubicBezTo>
                    <a:pt x="9" y="528"/>
                    <a:pt x="10" y="531"/>
                    <a:pt x="12" y="534"/>
                  </a:cubicBezTo>
                  <a:cubicBezTo>
                    <a:pt x="8" y="541"/>
                    <a:pt x="6" y="553"/>
                    <a:pt x="5" y="561"/>
                  </a:cubicBezTo>
                  <a:cubicBezTo>
                    <a:pt x="5" y="573"/>
                    <a:pt x="11" y="586"/>
                    <a:pt x="18" y="596"/>
                  </a:cubicBezTo>
                  <a:cubicBezTo>
                    <a:pt x="15" y="606"/>
                    <a:pt x="12" y="620"/>
                    <a:pt x="14" y="631"/>
                  </a:cubicBezTo>
                  <a:cubicBezTo>
                    <a:pt x="17" y="642"/>
                    <a:pt x="20" y="649"/>
                    <a:pt x="26" y="656"/>
                  </a:cubicBezTo>
                  <a:cubicBezTo>
                    <a:pt x="27" y="657"/>
                    <a:pt x="30" y="659"/>
                    <a:pt x="32" y="660"/>
                  </a:cubicBezTo>
                  <a:cubicBezTo>
                    <a:pt x="31" y="672"/>
                    <a:pt x="31" y="681"/>
                    <a:pt x="32" y="689"/>
                  </a:cubicBezTo>
                  <a:cubicBezTo>
                    <a:pt x="33" y="695"/>
                    <a:pt x="34" y="700"/>
                    <a:pt x="35" y="704"/>
                  </a:cubicBezTo>
                  <a:cubicBezTo>
                    <a:pt x="39" y="717"/>
                    <a:pt x="44" y="724"/>
                    <a:pt x="54" y="731"/>
                  </a:cubicBezTo>
                  <a:cubicBezTo>
                    <a:pt x="53" y="744"/>
                    <a:pt x="54" y="753"/>
                    <a:pt x="57" y="761"/>
                  </a:cubicBezTo>
                  <a:cubicBezTo>
                    <a:pt x="65" y="780"/>
                    <a:pt x="75" y="794"/>
                    <a:pt x="82" y="799"/>
                  </a:cubicBezTo>
                  <a:cubicBezTo>
                    <a:pt x="83" y="799"/>
                    <a:pt x="84" y="800"/>
                    <a:pt x="85" y="800"/>
                  </a:cubicBezTo>
                  <a:cubicBezTo>
                    <a:pt x="88" y="812"/>
                    <a:pt x="93" y="823"/>
                    <a:pt x="100" y="831"/>
                  </a:cubicBezTo>
                  <a:cubicBezTo>
                    <a:pt x="107" y="840"/>
                    <a:pt x="112" y="846"/>
                    <a:pt x="121" y="852"/>
                  </a:cubicBezTo>
                  <a:cubicBezTo>
                    <a:pt x="123" y="853"/>
                    <a:pt x="132" y="858"/>
                    <a:pt x="137" y="860"/>
                  </a:cubicBezTo>
                  <a:cubicBezTo>
                    <a:pt x="135" y="854"/>
                    <a:pt x="134" y="849"/>
                    <a:pt x="136" y="849"/>
                  </a:cubicBezTo>
                  <a:close/>
                  <a:moveTo>
                    <a:pt x="288" y="569"/>
                  </a:moveTo>
                  <a:cubicBezTo>
                    <a:pt x="289" y="614"/>
                    <a:pt x="282" y="645"/>
                    <a:pt x="276" y="680"/>
                  </a:cubicBezTo>
                  <a:cubicBezTo>
                    <a:pt x="274" y="695"/>
                    <a:pt x="268" y="734"/>
                    <a:pt x="261" y="751"/>
                  </a:cubicBezTo>
                  <a:cubicBezTo>
                    <a:pt x="261" y="751"/>
                    <a:pt x="261" y="751"/>
                    <a:pt x="261" y="751"/>
                  </a:cubicBezTo>
                  <a:cubicBezTo>
                    <a:pt x="261" y="724"/>
                    <a:pt x="248" y="688"/>
                    <a:pt x="232" y="669"/>
                  </a:cubicBezTo>
                  <a:cubicBezTo>
                    <a:pt x="215" y="650"/>
                    <a:pt x="213" y="649"/>
                    <a:pt x="212" y="675"/>
                  </a:cubicBezTo>
                  <a:cubicBezTo>
                    <a:pt x="211" y="697"/>
                    <a:pt x="195" y="722"/>
                    <a:pt x="188" y="747"/>
                  </a:cubicBezTo>
                  <a:cubicBezTo>
                    <a:pt x="187" y="748"/>
                    <a:pt x="187" y="748"/>
                    <a:pt x="187" y="749"/>
                  </a:cubicBezTo>
                  <a:cubicBezTo>
                    <a:pt x="150" y="663"/>
                    <a:pt x="139" y="629"/>
                    <a:pt x="135" y="603"/>
                  </a:cubicBezTo>
                  <a:cubicBezTo>
                    <a:pt x="135" y="596"/>
                    <a:pt x="133" y="582"/>
                    <a:pt x="133" y="575"/>
                  </a:cubicBezTo>
                  <a:cubicBezTo>
                    <a:pt x="134" y="551"/>
                    <a:pt x="136" y="533"/>
                    <a:pt x="140" y="514"/>
                  </a:cubicBezTo>
                  <a:cubicBezTo>
                    <a:pt x="147" y="476"/>
                    <a:pt x="171" y="425"/>
                    <a:pt x="196" y="394"/>
                  </a:cubicBezTo>
                  <a:cubicBezTo>
                    <a:pt x="202" y="387"/>
                    <a:pt x="209" y="379"/>
                    <a:pt x="217" y="371"/>
                  </a:cubicBezTo>
                  <a:cubicBezTo>
                    <a:pt x="265" y="415"/>
                    <a:pt x="287" y="497"/>
                    <a:pt x="288" y="569"/>
                  </a:cubicBezTo>
                  <a:close/>
                  <a:moveTo>
                    <a:pt x="115" y="311"/>
                  </a:moveTo>
                  <a:cubicBezTo>
                    <a:pt x="99" y="311"/>
                    <a:pt x="77" y="322"/>
                    <a:pt x="79" y="342"/>
                  </a:cubicBezTo>
                  <a:cubicBezTo>
                    <a:pt x="70" y="341"/>
                    <a:pt x="63" y="321"/>
                    <a:pt x="63" y="313"/>
                  </a:cubicBezTo>
                  <a:cubicBezTo>
                    <a:pt x="63" y="303"/>
                    <a:pt x="67" y="293"/>
                    <a:pt x="80" y="287"/>
                  </a:cubicBezTo>
                  <a:cubicBezTo>
                    <a:pt x="82" y="286"/>
                    <a:pt x="90" y="287"/>
                    <a:pt x="98" y="287"/>
                  </a:cubicBezTo>
                  <a:cubicBezTo>
                    <a:pt x="99" y="287"/>
                    <a:pt x="101" y="288"/>
                    <a:pt x="102" y="288"/>
                  </a:cubicBezTo>
                  <a:cubicBezTo>
                    <a:pt x="105" y="288"/>
                    <a:pt x="106" y="288"/>
                    <a:pt x="109" y="287"/>
                  </a:cubicBezTo>
                  <a:cubicBezTo>
                    <a:pt x="111" y="287"/>
                    <a:pt x="111" y="285"/>
                    <a:pt x="109" y="284"/>
                  </a:cubicBezTo>
                  <a:cubicBezTo>
                    <a:pt x="105" y="282"/>
                    <a:pt x="98" y="281"/>
                    <a:pt x="92" y="279"/>
                  </a:cubicBezTo>
                  <a:cubicBezTo>
                    <a:pt x="82" y="276"/>
                    <a:pt x="70" y="265"/>
                    <a:pt x="65" y="256"/>
                  </a:cubicBezTo>
                  <a:cubicBezTo>
                    <a:pt x="60" y="248"/>
                    <a:pt x="55" y="233"/>
                    <a:pt x="60" y="222"/>
                  </a:cubicBezTo>
                  <a:cubicBezTo>
                    <a:pt x="70" y="232"/>
                    <a:pt x="83" y="240"/>
                    <a:pt x="95" y="245"/>
                  </a:cubicBezTo>
                  <a:cubicBezTo>
                    <a:pt x="100" y="247"/>
                    <a:pt x="104" y="241"/>
                    <a:pt x="94" y="236"/>
                  </a:cubicBezTo>
                  <a:cubicBezTo>
                    <a:pt x="82" y="230"/>
                    <a:pt x="65" y="220"/>
                    <a:pt x="56" y="203"/>
                  </a:cubicBezTo>
                  <a:cubicBezTo>
                    <a:pt x="45" y="183"/>
                    <a:pt x="47" y="163"/>
                    <a:pt x="54" y="152"/>
                  </a:cubicBezTo>
                  <a:cubicBezTo>
                    <a:pt x="66" y="178"/>
                    <a:pt x="88" y="205"/>
                    <a:pt x="95" y="208"/>
                  </a:cubicBezTo>
                  <a:cubicBezTo>
                    <a:pt x="97" y="208"/>
                    <a:pt x="98" y="206"/>
                    <a:pt x="98" y="204"/>
                  </a:cubicBezTo>
                  <a:cubicBezTo>
                    <a:pt x="93" y="198"/>
                    <a:pt x="74" y="170"/>
                    <a:pt x="68" y="161"/>
                  </a:cubicBezTo>
                  <a:cubicBezTo>
                    <a:pt x="65" y="156"/>
                    <a:pt x="58" y="138"/>
                    <a:pt x="57" y="132"/>
                  </a:cubicBezTo>
                  <a:cubicBezTo>
                    <a:pt x="56" y="125"/>
                    <a:pt x="56" y="118"/>
                    <a:pt x="57" y="110"/>
                  </a:cubicBezTo>
                  <a:cubicBezTo>
                    <a:pt x="58" y="97"/>
                    <a:pt x="64" y="88"/>
                    <a:pt x="72" y="76"/>
                  </a:cubicBezTo>
                  <a:cubicBezTo>
                    <a:pt x="70" y="94"/>
                    <a:pt x="73" y="107"/>
                    <a:pt x="77" y="125"/>
                  </a:cubicBezTo>
                  <a:cubicBezTo>
                    <a:pt x="78" y="133"/>
                    <a:pt x="91" y="160"/>
                    <a:pt x="98" y="164"/>
                  </a:cubicBezTo>
                  <a:cubicBezTo>
                    <a:pt x="99" y="164"/>
                    <a:pt x="100" y="163"/>
                    <a:pt x="100" y="160"/>
                  </a:cubicBezTo>
                  <a:cubicBezTo>
                    <a:pt x="100" y="159"/>
                    <a:pt x="99" y="156"/>
                    <a:pt x="98" y="154"/>
                  </a:cubicBezTo>
                  <a:cubicBezTo>
                    <a:pt x="94" y="144"/>
                    <a:pt x="86" y="126"/>
                    <a:pt x="84" y="117"/>
                  </a:cubicBezTo>
                  <a:cubicBezTo>
                    <a:pt x="82" y="102"/>
                    <a:pt x="80" y="72"/>
                    <a:pt x="84" y="56"/>
                  </a:cubicBezTo>
                  <a:cubicBezTo>
                    <a:pt x="86" y="50"/>
                    <a:pt x="92" y="32"/>
                    <a:pt x="99" y="25"/>
                  </a:cubicBezTo>
                  <a:cubicBezTo>
                    <a:pt x="100" y="56"/>
                    <a:pt x="98" y="76"/>
                    <a:pt x="111" y="106"/>
                  </a:cubicBezTo>
                  <a:cubicBezTo>
                    <a:pt x="117" y="120"/>
                    <a:pt x="119" y="125"/>
                    <a:pt x="122" y="139"/>
                  </a:cubicBezTo>
                  <a:cubicBezTo>
                    <a:pt x="124" y="148"/>
                    <a:pt x="126" y="166"/>
                    <a:pt x="127" y="173"/>
                  </a:cubicBezTo>
                  <a:cubicBezTo>
                    <a:pt x="128" y="183"/>
                    <a:pt x="135" y="177"/>
                    <a:pt x="134" y="175"/>
                  </a:cubicBezTo>
                  <a:cubicBezTo>
                    <a:pt x="134" y="172"/>
                    <a:pt x="132" y="163"/>
                    <a:pt x="131" y="154"/>
                  </a:cubicBezTo>
                  <a:cubicBezTo>
                    <a:pt x="138" y="139"/>
                    <a:pt x="142" y="130"/>
                    <a:pt x="158" y="120"/>
                  </a:cubicBezTo>
                  <a:cubicBezTo>
                    <a:pt x="172" y="110"/>
                    <a:pt x="198" y="118"/>
                    <a:pt x="203" y="135"/>
                  </a:cubicBezTo>
                  <a:cubicBezTo>
                    <a:pt x="173" y="125"/>
                    <a:pt x="162" y="166"/>
                    <a:pt x="167" y="190"/>
                  </a:cubicBezTo>
                  <a:cubicBezTo>
                    <a:pt x="171" y="205"/>
                    <a:pt x="180" y="221"/>
                    <a:pt x="183" y="234"/>
                  </a:cubicBezTo>
                  <a:cubicBezTo>
                    <a:pt x="184" y="240"/>
                    <a:pt x="203" y="268"/>
                    <a:pt x="211" y="277"/>
                  </a:cubicBezTo>
                  <a:cubicBezTo>
                    <a:pt x="198" y="291"/>
                    <a:pt x="183" y="308"/>
                    <a:pt x="166" y="330"/>
                  </a:cubicBezTo>
                  <a:cubicBezTo>
                    <a:pt x="152" y="318"/>
                    <a:pt x="131" y="311"/>
                    <a:pt x="115" y="31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200;p1">
              <a:extLst>
                <a:ext uri="{FF2B5EF4-FFF2-40B4-BE49-F238E27FC236}">
                  <a16:creationId xmlns:a16="http://schemas.microsoft.com/office/drawing/2014/main" id="{2A1C5F05-61FF-4A6D-9AFC-93502D9698D7}"/>
                </a:ext>
              </a:extLst>
            </p:cNvPr>
            <p:cNvSpPr/>
            <p:nvPr/>
          </p:nvSpPr>
          <p:spPr>
            <a:xfrm>
              <a:off x="14289088" y="2954338"/>
              <a:ext cx="23813" cy="33338"/>
            </a:xfrm>
            <a:custGeom>
              <a:avLst/>
              <a:gdLst/>
              <a:ahLst/>
              <a:cxnLst/>
              <a:rect l="l" t="t" r="r" b="b"/>
              <a:pathLst>
                <a:path w="43" h="61" extrusionOk="0">
                  <a:moveTo>
                    <a:pt x="7" y="17"/>
                  </a:moveTo>
                  <a:cubicBezTo>
                    <a:pt x="16" y="20"/>
                    <a:pt x="24" y="15"/>
                    <a:pt x="30" y="22"/>
                  </a:cubicBezTo>
                  <a:cubicBezTo>
                    <a:pt x="31" y="24"/>
                    <a:pt x="32" y="27"/>
                    <a:pt x="33" y="29"/>
                  </a:cubicBezTo>
                  <a:cubicBezTo>
                    <a:pt x="34" y="34"/>
                    <a:pt x="32" y="40"/>
                    <a:pt x="28" y="41"/>
                  </a:cubicBezTo>
                  <a:cubicBezTo>
                    <a:pt x="19" y="42"/>
                    <a:pt x="9" y="43"/>
                    <a:pt x="7" y="52"/>
                  </a:cubicBezTo>
                  <a:cubicBezTo>
                    <a:pt x="6" y="61"/>
                    <a:pt x="12" y="60"/>
                    <a:pt x="13" y="58"/>
                  </a:cubicBezTo>
                  <a:cubicBezTo>
                    <a:pt x="15" y="55"/>
                    <a:pt x="17" y="50"/>
                    <a:pt x="20" y="50"/>
                  </a:cubicBezTo>
                  <a:cubicBezTo>
                    <a:pt x="26" y="50"/>
                    <a:pt x="33" y="49"/>
                    <a:pt x="37" y="44"/>
                  </a:cubicBezTo>
                  <a:cubicBezTo>
                    <a:pt x="43" y="31"/>
                    <a:pt x="40" y="10"/>
                    <a:pt x="19" y="10"/>
                  </a:cubicBezTo>
                  <a:cubicBezTo>
                    <a:pt x="6" y="11"/>
                    <a:pt x="9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8"/>
                    <a:pt x="5" y="15"/>
                    <a:pt x="7" y="1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201;p1">
              <a:extLst>
                <a:ext uri="{FF2B5EF4-FFF2-40B4-BE49-F238E27FC236}">
                  <a16:creationId xmlns:a16="http://schemas.microsoft.com/office/drawing/2014/main" id="{3F8A674B-C9DB-4CF4-AFDC-F86960940E99}"/>
                </a:ext>
              </a:extLst>
            </p:cNvPr>
            <p:cNvSpPr/>
            <p:nvPr/>
          </p:nvSpPr>
          <p:spPr>
            <a:xfrm>
              <a:off x="14279563" y="2765425"/>
              <a:ext cx="3175" cy="4763"/>
            </a:xfrm>
            <a:custGeom>
              <a:avLst/>
              <a:gdLst/>
              <a:ahLst/>
              <a:cxnLst/>
              <a:rect l="l" t="t" r="r" b="b"/>
              <a:pathLst>
                <a:path w="7" h="9" extrusionOk="0">
                  <a:moveTo>
                    <a:pt x="5" y="0"/>
                  </a:moveTo>
                  <a:cubicBezTo>
                    <a:pt x="3" y="0"/>
                    <a:pt x="3" y="1"/>
                    <a:pt x="2" y="3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8"/>
                    <a:pt x="2" y="9"/>
                    <a:pt x="3" y="9"/>
                  </a:cubicBezTo>
                  <a:cubicBezTo>
                    <a:pt x="4" y="8"/>
                    <a:pt x="7" y="5"/>
                    <a:pt x="7" y="4"/>
                  </a:cubicBezTo>
                  <a:cubicBezTo>
                    <a:pt x="7" y="3"/>
                    <a:pt x="7" y="1"/>
                    <a:pt x="6" y="1"/>
                  </a:cubicBezTo>
                  <a:cubicBezTo>
                    <a:pt x="6" y="1"/>
                    <a:pt x="5" y="0"/>
                    <a:pt x="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" name="Google Shape;202;p1">
            <a:extLst>
              <a:ext uri="{FF2B5EF4-FFF2-40B4-BE49-F238E27FC236}">
                <a16:creationId xmlns:a16="http://schemas.microsoft.com/office/drawing/2014/main" id="{B4BD74AD-5475-4729-9A14-7E5278CB7C91}"/>
              </a:ext>
            </a:extLst>
          </p:cNvPr>
          <p:cNvSpPr txBox="1"/>
          <p:nvPr/>
        </p:nvSpPr>
        <p:spPr>
          <a:xfrm>
            <a:off x="786253" y="6494097"/>
            <a:ext cx="23310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Arial"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entrální řídící tým COVID-19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9250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ovaní po regionech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1844" y="886042"/>
          <a:ext cx="11578684" cy="5610151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04148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2198972229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3928862566"/>
                    </a:ext>
                  </a:extLst>
                </a:gridCol>
                <a:gridCol w="1196817">
                  <a:extLst>
                    <a:ext uri="{9D8B030D-6E8A-4147-A177-3AD203B41FA5}">
                      <a16:colId xmlns:a16="http://schemas.microsoft.com/office/drawing/2014/main" val="10888725"/>
                    </a:ext>
                  </a:extLst>
                </a:gridCol>
              </a:tblGrid>
              <a:tr h="595471">
                <a:tc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omirnaty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BioNTech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anufacturing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GmbH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OVID-19 </a:t>
                      </a:r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accine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Moderna (Modern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OVID-19 </a:t>
                      </a:r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accine</a:t>
                      </a: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Astra </a:t>
                      </a:r>
                      <a:r>
                        <a:rPr lang="cs-CZ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Zeneca</a:t>
                      </a:r>
                      <a:endParaRPr lang="cs-CZ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968721"/>
                  </a:ext>
                </a:extLst>
              </a:tr>
              <a:tr h="510404">
                <a:tc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e dvěma dávkami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e dvěma dávkami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e dvěma dávkami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e dvěma dávkami</a:t>
                      </a:r>
                    </a:p>
                  </a:txBody>
                  <a:tcPr marL="36000" marR="36000" marT="0" marB="0"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9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1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1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1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9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Jihoče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0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8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1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5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Ústec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7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7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7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9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9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8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1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1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74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7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1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2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6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2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8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1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0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1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9773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48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 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85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9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4714300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1</a:t>
            </a:r>
          </a:p>
        </p:txBody>
      </p:sp>
    </p:spTree>
    <p:extLst>
      <p:ext uri="{BB962C8B-B14F-4D97-AF65-F5344CB8AC3E}">
        <p14:creationId xmlns:p14="http://schemas.microsoft.com/office/powerpoint/2010/main" val="291082885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ývoj celkového počtu aplikovaných dávek vakcín v čase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03BCA46-775D-4E93-86AC-03D972CA0EE9}"/>
              </a:ext>
            </a:extLst>
          </p:cNvPr>
          <p:cNvGraphicFramePr/>
          <p:nvPr>
            <p:extLst/>
          </p:nvPr>
        </p:nvGraphicFramePr>
        <p:xfrm>
          <a:off x="645558" y="704850"/>
          <a:ext cx="11490913" cy="5839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9">
            <a:extLst>
              <a:ext uri="{FF2B5EF4-FFF2-40B4-BE49-F238E27FC236}">
                <a16:creationId xmlns:a16="http://schemas.microsoft.com/office/drawing/2014/main" id="{8BACB184-F3E0-41E7-A67A-F9CABEB0ACF8}"/>
              </a:ext>
            </a:extLst>
          </p:cNvPr>
          <p:cNvSpPr txBox="1"/>
          <p:nvPr/>
        </p:nvSpPr>
        <p:spPr>
          <a:xfrm>
            <a:off x="4255563" y="6420748"/>
            <a:ext cx="32025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vakcinace</a:t>
            </a:r>
          </a:p>
        </p:txBody>
      </p:sp>
      <p:sp>
        <p:nvSpPr>
          <p:cNvPr id="9" name="TextBox 26">
            <a:extLst>
              <a:ext uri="{FF2B5EF4-FFF2-40B4-BE49-F238E27FC236}">
                <a16:creationId xmlns:a16="http://schemas.microsoft.com/office/drawing/2014/main" id="{C6438592-190E-4149-ABBF-409698462C50}"/>
              </a:ext>
            </a:extLst>
          </p:cNvPr>
          <p:cNvSpPr txBox="1"/>
          <p:nvPr/>
        </p:nvSpPr>
        <p:spPr>
          <a:xfrm rot="16200000">
            <a:off x="-1828594" y="3054317"/>
            <a:ext cx="444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453E00ED-56BB-420F-B113-B71F787B0392}"/>
              </a:ext>
            </a:extLst>
          </p:cNvPr>
          <p:cNvSpPr/>
          <p:nvPr/>
        </p:nvSpPr>
        <p:spPr>
          <a:xfrm>
            <a:off x="10718450" y="4646531"/>
            <a:ext cx="830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5 480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BF01900B-6E9D-47EC-802D-7FA811352E83}"/>
              </a:ext>
            </a:extLst>
          </p:cNvPr>
          <p:cNvSpPr/>
          <p:nvPr/>
        </p:nvSpPr>
        <p:spPr>
          <a:xfrm>
            <a:off x="10718450" y="2487767"/>
            <a:ext cx="830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15 743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8514A1A4-5233-4B9C-9764-1C6817015E00}"/>
              </a:ext>
            </a:extLst>
          </p:cNvPr>
          <p:cNvSpPr/>
          <p:nvPr/>
        </p:nvSpPr>
        <p:spPr>
          <a:xfrm>
            <a:off x="10711683" y="823308"/>
            <a:ext cx="830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71 223</a:t>
            </a:r>
          </a:p>
        </p:txBody>
      </p:sp>
    </p:spTree>
    <p:extLst>
      <p:ext uri="{BB962C8B-B14F-4D97-AF65-F5344CB8AC3E}">
        <p14:creationId xmlns:p14="http://schemas.microsoft.com/office/powerpoint/2010/main" val="12373380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/>
              <a:t>Přehled dle místa bydliště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11117" y="779609"/>
            <a:ext cx="1118940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plikovaných dávek očkování se liší mezi kraji,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cméně rozdíly se postupně vyrovnávají, zejména při hodnoc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místa bydliště očkovaného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449173" y="2657157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82999" y="3340327"/>
            <a:ext cx="114960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cca 69 % všech dávek bylo v Praze aplikováno u obyvatel Prahy; cca 19 % konzumovali obyvatelé Středočeského kraje, 2,4 % obyvatelé Ústeckého kraje a 1,3 % obyvatelé Jihočeského kraje. Obdobně, byť v menším rozsahu proběhla i částečná migrace obyvatel moravských krajů a Vysočiny za očkováním v JMK. Migrace mezi kraji jsou vzájemné a probíhají zejména v geograficky sousedících oblastech, např. 7 % všech dávek podaných v STČ bylo aplikováno obyvatelům Prahy. Za vakcinací do jiného kraje nejvíce míří obyvatelé STČ (34 %), Pardubického kraje (19 %), Ústeckého kraje (16 %), Kraje Vysočina (14 %) a Libereckého kraje (12 %).</a:t>
            </a:r>
          </a:p>
        </p:txBody>
      </p:sp>
    </p:spTree>
    <p:extLst>
      <p:ext uri="{BB962C8B-B14F-4D97-AF65-F5344CB8AC3E}">
        <p14:creationId xmlns:p14="http://schemas.microsoft.com/office/powerpoint/2010/main" val="20732872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>
            <p:extLst/>
          </p:nvPr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5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5,00–44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,00–49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881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622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9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 7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8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0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99" name="TextBox 6">
            <a:extLst>
              <a:ext uri="{FF2B5EF4-FFF2-40B4-BE49-F238E27FC236}">
                <a16:creationId xmlns:a16="http://schemas.microsoft.com/office/drawing/2014/main" id="{73476168-D2D4-4361-B47E-C7DC4CD0CECD}"/>
              </a:ext>
            </a:extLst>
          </p:cNvPr>
          <p:cNvSpPr txBox="1"/>
          <p:nvPr/>
        </p:nvSpPr>
        <p:spPr>
          <a:xfrm>
            <a:off x="5724525" y="99623"/>
            <a:ext cx="238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1</a:t>
            </a:r>
          </a:p>
        </p:txBody>
      </p:sp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507896" y="6516521"/>
            <a:ext cx="45095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4 958 osob z počáteční fáze vakcinace</a:t>
            </a:r>
          </a:p>
        </p:txBody>
      </p:sp>
    </p:spTree>
    <p:extLst>
      <p:ext uri="{BB962C8B-B14F-4D97-AF65-F5344CB8AC3E}">
        <p14:creationId xmlns:p14="http://schemas.microsoft.com/office/powerpoint/2010/main" val="31372732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dle vybraných skupi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44417" y="676552"/>
            <a:ext cx="106826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naprosté většině aplikací sleduje stanovené prioritní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upiny, nově začíná narůstat podíl očkovaných seniorů ve věku 70 – 79 let a pracovníků ve školství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403461" y="2162099"/>
            <a:ext cx="1164566" cy="503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75266" y="2878358"/>
            <a:ext cx="11403983" cy="181588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očkování zdravotničtí pracovníci (35,5 % celku), klienti a pracovníci sociálních služeb (16,0 %), pracovníci kritické infrastruktury (2,0 %), pracovníci ve školství (2,6 %), senioři 70-79 let (4,8 %) a senioři 80+ (33,1 %).  </a:t>
            </a:r>
          </a:p>
        </p:txBody>
      </p:sp>
      <p:sp>
        <p:nvSpPr>
          <p:cNvPr id="24" name="Šipka dolů 23"/>
          <p:cNvSpPr/>
          <p:nvPr/>
        </p:nvSpPr>
        <p:spPr>
          <a:xfrm>
            <a:off x="5403461" y="5982912"/>
            <a:ext cx="1164566" cy="503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83185" y="4900695"/>
            <a:ext cx="114960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bývajících cca 6,0 % osob středního až velmi mladého věku (</a:t>
            </a: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 164 osob / 39 119 vakcinací  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ladších 29 let) jsou většinou medici, studenti či dobrovolníci pracující na odběrných místech a jinde ve zdravotnictví při péči o COVID+ pacienty, nebo v sociálních službách  </a:t>
            </a:r>
          </a:p>
        </p:txBody>
      </p:sp>
    </p:spTree>
    <p:extLst>
      <p:ext uri="{BB962C8B-B14F-4D97-AF65-F5344CB8AC3E}">
        <p14:creationId xmlns:p14="http://schemas.microsoft.com/office/powerpoint/2010/main" val="16485813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>
            <a:extLst>
              <a:ext uri="{FF2B5EF4-FFF2-40B4-BE49-F238E27FC236}">
                <a16:creationId xmlns:a16="http://schemas.microsoft.com/office/drawing/2014/main" id="{AAE0361F-E506-4977-82C5-F24A5FA62772}"/>
              </a:ext>
            </a:extLst>
          </p:cNvPr>
          <p:cNvSpPr txBox="1"/>
          <p:nvPr/>
        </p:nvSpPr>
        <p:spPr>
          <a:xfrm rot="16200000">
            <a:off x="-577054" y="4305215"/>
            <a:ext cx="1944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 s COVID-19</a:t>
            </a: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9973232A-9684-4FC9-AE77-1386A1121E76}"/>
              </a:ext>
            </a:extLst>
          </p:cNvPr>
          <p:cNvSpPr txBox="1"/>
          <p:nvPr/>
        </p:nvSpPr>
        <p:spPr>
          <a:xfrm>
            <a:off x="2900259" y="2558135"/>
            <a:ext cx="649312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6B627DB5-E7BE-4826-83AC-838BCA5E7E3C}"/>
              </a:ext>
            </a:extLst>
          </p:cNvPr>
          <p:cNvSpPr txBox="1"/>
          <p:nvPr/>
        </p:nvSpPr>
        <p:spPr>
          <a:xfrm>
            <a:off x="154624" y="6405326"/>
            <a:ext cx="982352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počet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kc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e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 v software R (balíček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Esti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, 7denní časové okno, předpoklad rozdělení sériového intervalu: průměr 4.8, SD 2.3 (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shiura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al., 2020), odhad uveden jako medián a 2,5%–97,5% kvantily.</a:t>
            </a:r>
          </a:p>
        </p:txBody>
      </p: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50799D38-217C-4919-BC0B-8935B9826571}"/>
              </a:ext>
            </a:extLst>
          </p:cNvPr>
          <p:cNvCxnSpPr>
            <a:cxnSpLocks/>
          </p:cNvCxnSpPr>
          <p:nvPr/>
        </p:nvCxnSpPr>
        <p:spPr>
          <a:xfrm flipH="1">
            <a:off x="1442911" y="1778193"/>
            <a:ext cx="2100389" cy="11892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8F229281-C9AA-48B9-A3C0-B2FD523C78CB}"/>
              </a:ext>
            </a:extLst>
          </p:cNvPr>
          <p:cNvCxnSpPr>
            <a:cxnSpLocks/>
          </p:cNvCxnSpPr>
          <p:nvPr/>
        </p:nvCxnSpPr>
        <p:spPr>
          <a:xfrm>
            <a:off x="8750340" y="1720861"/>
            <a:ext cx="2317351" cy="1246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délník 12">
            <a:extLst>
              <a:ext uri="{FF2B5EF4-FFF2-40B4-BE49-F238E27FC236}">
                <a16:creationId xmlns:a16="http://schemas.microsoft.com/office/drawing/2014/main" id="{00A3F12B-FECE-4814-AB92-A8A1333F907B}"/>
              </a:ext>
            </a:extLst>
          </p:cNvPr>
          <p:cNvSpPr/>
          <p:nvPr/>
        </p:nvSpPr>
        <p:spPr>
          <a:xfrm>
            <a:off x="1973646" y="1142631"/>
            <a:ext cx="83463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odhad R pro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R: 1,02</a:t>
            </a:r>
            <a:endParaRPr kumimoji="0" lang="cs-CZ" sz="3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5669529C-2BEF-4D3F-B465-B1D1833F5E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3714605"/>
              </p:ext>
            </p:extLst>
          </p:nvPr>
        </p:nvGraphicFramePr>
        <p:xfrm>
          <a:off x="418529" y="2591454"/>
          <a:ext cx="11354940" cy="3796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ovéPole 13"/>
          <p:cNvSpPr txBox="1"/>
          <p:nvPr/>
        </p:nvSpPr>
        <p:spPr>
          <a:xfrm>
            <a:off x="246352" y="10028"/>
            <a:ext cx="118009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enní nárůsty počtů nově prokázaných případů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pomalují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ž vedlo i k poklesu odhadované hodnoty reprodukčního čísla (R)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47594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8E9EAD6-4C55-4C16-97F3-5A04B9ECE82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06673" y="1762918"/>
          <a:ext cx="9355192" cy="4422105"/>
        </p:xfrm>
        <a:graphic>
          <a:graphicData uri="http://schemas.openxmlformats.org/drawingml/2006/table">
            <a:tbl>
              <a:tblPr/>
              <a:tblGrid>
                <a:gridCol w="1169399">
                  <a:extLst>
                    <a:ext uri="{9D8B030D-6E8A-4147-A177-3AD203B41FA5}">
                      <a16:colId xmlns:a16="http://schemas.microsoft.com/office/drawing/2014/main" val="2275250850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3153712343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168281653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206084230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3728931477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3400939644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2999441561"/>
                    </a:ext>
                  </a:extLst>
                </a:gridCol>
                <a:gridCol w="1169399">
                  <a:extLst>
                    <a:ext uri="{9D8B030D-6E8A-4147-A177-3AD203B41FA5}">
                      <a16:colId xmlns:a16="http://schemas.microsoft.com/office/drawing/2014/main" val="2627164333"/>
                    </a:ext>
                  </a:extLst>
                </a:gridCol>
              </a:tblGrid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16906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6685810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571520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3953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73379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825318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4425161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221057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453954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790688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417305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483521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4470574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7706044"/>
                  </a:ext>
                </a:extLst>
              </a:tr>
              <a:tr h="29480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25809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dle kategorií: dávky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80975" y="772885"/>
          <a:ext cx="11780887" cy="5412135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01835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730700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1231245903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1673001791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3777559418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168544">
                  <a:extLst>
                    <a:ext uri="{9D8B030D-6E8A-4147-A177-3AD203B41FA5}">
                      <a16:colId xmlns:a16="http://schemas.microsoft.com/office/drawing/2014/main" val="2198972229"/>
                    </a:ext>
                  </a:extLst>
                </a:gridCol>
              </a:tblGrid>
              <a:tr h="988170">
                <a:tc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P v nemocnicích / ZZ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zdravotnictví / ochrana veřejného zdraví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lienti a pracovníci v sociálních službá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–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covníci kritické infrastruktury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–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covníci ve školství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–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70-79 let*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–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80 a více let*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9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88 (1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200 (21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45 (6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(2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 (1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48 (5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957 (40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48 (7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3 (1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57 (15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15 (19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 (0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6 (7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4 (6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23 (25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70 (7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4 (1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9 (12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07 (22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8 (0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0 (3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3 (6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68 (32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1 (6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lzeň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6 (1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43 (32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5 (14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9 (1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3 (3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5 (5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66 (27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0 (2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2 (1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7 (18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8 (14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8 (3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3 (5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7 (4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2 (27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3 (8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Úst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18 (2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5 (19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19 (16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(0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8 (2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1 (3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1 (24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 (5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0 (1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7 (15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5 (16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 (0,9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 (3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0 (6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6 (27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4 (11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3 (1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1 (14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1 (15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9 (1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(0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8 (6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33 (33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3 (10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9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0 (1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4 (15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7 (9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4 (2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(3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 (3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84 (45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(1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8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6 (1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6 (20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15 (20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(1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1 (1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1 (2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48 (31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2 (4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73 (2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60 (13,5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75 (20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34 (7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9 (2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3 (3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89 (27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 (4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8 (1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52 (13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53 (18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(0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9 (2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7 (5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28 (39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 (2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49 (1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09 (21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2 (24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(0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 (1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6 (2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2 (32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 (2,7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67 (1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59 (13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89 (20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(0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(0,3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4 (4,4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01 (35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5 (6,2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9493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Č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1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557 (1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 529 (17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 256 (16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40 (2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377 (2,6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781 (4,8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198 (33,1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285 (6,0 %)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01B45DCB-A3A6-4350-8A61-90F29254024D}"/>
              </a:ext>
            </a:extLst>
          </p:cNvPr>
          <p:cNvSpPr txBox="1"/>
          <p:nvPr/>
        </p:nvSpPr>
        <p:spPr>
          <a:xfrm>
            <a:off x="5765437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1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303276" y="6185027"/>
            <a:ext cx="11585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Do kategorií „ostatní“ podle věku jsou zařazeni senioři nespadající do jiné kategorie, neboť ve věku 70-79 a 80 a více let jsou očkovány i osoby, které jsou začleněny do kategorie zdravotníků (dle vzdělání) nebo sociálních zřízení (dle pobytu)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24827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200" dirty="0"/>
              <a:t>Registrace a očkování u </a:t>
            </a:r>
            <a:r>
              <a:rPr lang="cs-CZ" sz="2200" dirty="0" err="1"/>
              <a:t>seniorních</a:t>
            </a:r>
            <a:r>
              <a:rPr lang="cs-CZ" sz="2200" dirty="0"/>
              <a:t> skupin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12177" y="731058"/>
            <a:ext cx="106826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ior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kupiny byly očkovány již z prvních dodaných dávek vakcín 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irnaty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Moderna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7DADBF1-2B3D-478C-8402-4E893313CC1A}"/>
              </a:ext>
            </a:extLst>
          </p:cNvPr>
          <p:cNvSpPr txBox="1"/>
          <p:nvPr/>
        </p:nvSpPr>
        <p:spPr>
          <a:xfrm>
            <a:off x="6879656" y="2749972"/>
            <a:ext cx="3372175" cy="1090221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2 271 osob ve věk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+ let</a:t>
            </a: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7CEDFB5E-4738-44FF-9FA7-0F069C7F6E3F}"/>
              </a:ext>
            </a:extLst>
          </p:cNvPr>
          <p:cNvSpPr txBox="1"/>
          <p:nvPr/>
        </p:nvSpPr>
        <p:spPr>
          <a:xfrm>
            <a:off x="1621856" y="2749971"/>
            <a:ext cx="3372175" cy="109022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4 510 osob ve věk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 – 79 let 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881976" y="2138317"/>
            <a:ext cx="80811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4. 3. 2021 evidujeme vykázaná očkování u: 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5202684" y="2957003"/>
            <a:ext cx="1468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  <a:endParaRPr kumimoji="0" lang="en-US" sz="3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83768" y="1695877"/>
            <a:ext cx="1104181" cy="3334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" name="Přímá spojnice 10"/>
          <p:cNvCxnSpPr>
            <a:cxnSpLocks/>
          </p:cNvCxnSpPr>
          <p:nvPr/>
        </p:nvCxnSpPr>
        <p:spPr>
          <a:xfrm flipV="1">
            <a:off x="655606" y="4157575"/>
            <a:ext cx="1054579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Šipka dolů 11"/>
          <p:cNvSpPr/>
          <p:nvPr/>
        </p:nvSpPr>
        <p:spPr>
          <a:xfrm rot="2419505">
            <a:off x="2736284" y="4135381"/>
            <a:ext cx="592322" cy="6865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52425" y="4821091"/>
            <a:ext cx="4186561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rší věkové kategorie jsou významně zastoupeny i mezi očkovanými zdravotnickými pracovníky a klienty sociálních služeb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165481" y="5843992"/>
            <a:ext cx="40813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o je nyní cca 48,1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osob ve věku 80+</a:t>
            </a:r>
          </a:p>
        </p:txBody>
      </p:sp>
      <p:sp>
        <p:nvSpPr>
          <p:cNvPr id="19" name="Šipka dolů 18"/>
          <p:cNvSpPr/>
          <p:nvPr/>
        </p:nvSpPr>
        <p:spPr>
          <a:xfrm>
            <a:off x="6893644" y="4097061"/>
            <a:ext cx="592322" cy="16782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lů 20"/>
          <p:cNvSpPr/>
          <p:nvPr/>
        </p:nvSpPr>
        <p:spPr>
          <a:xfrm rot="19022330">
            <a:off x="8717257" y="4118179"/>
            <a:ext cx="592322" cy="6865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691845" y="4846257"/>
            <a:ext cx="418656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straci provedlo 234 424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eniorů, což je cca 53,1%</a:t>
            </a:r>
          </a:p>
        </p:txBody>
      </p:sp>
    </p:spTree>
    <p:extLst>
      <p:ext uri="{BB962C8B-B14F-4D97-AF65-F5344CB8AC3E}">
        <p14:creationId xmlns:p14="http://schemas.microsoft.com/office/powerpoint/2010/main" val="26277138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A6EE4B9-416E-4FFB-AA7A-C48BB403A24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78100" y="1444784"/>
          <a:ext cx="9123216" cy="4959072"/>
        </p:xfrm>
        <a:graphic>
          <a:graphicData uri="http://schemas.openxmlformats.org/drawingml/2006/table">
            <a:tbl>
              <a:tblPr/>
              <a:tblGrid>
                <a:gridCol w="1520536">
                  <a:extLst>
                    <a:ext uri="{9D8B030D-6E8A-4147-A177-3AD203B41FA5}">
                      <a16:colId xmlns:a16="http://schemas.microsoft.com/office/drawing/2014/main" val="761416836"/>
                    </a:ext>
                  </a:extLst>
                </a:gridCol>
                <a:gridCol w="1520536">
                  <a:extLst>
                    <a:ext uri="{9D8B030D-6E8A-4147-A177-3AD203B41FA5}">
                      <a16:colId xmlns:a16="http://schemas.microsoft.com/office/drawing/2014/main" val="2330763264"/>
                    </a:ext>
                  </a:extLst>
                </a:gridCol>
                <a:gridCol w="1520536">
                  <a:extLst>
                    <a:ext uri="{9D8B030D-6E8A-4147-A177-3AD203B41FA5}">
                      <a16:colId xmlns:a16="http://schemas.microsoft.com/office/drawing/2014/main" val="3772404944"/>
                    </a:ext>
                  </a:extLst>
                </a:gridCol>
                <a:gridCol w="1520536">
                  <a:extLst>
                    <a:ext uri="{9D8B030D-6E8A-4147-A177-3AD203B41FA5}">
                      <a16:colId xmlns:a16="http://schemas.microsoft.com/office/drawing/2014/main" val="3667529197"/>
                    </a:ext>
                  </a:extLst>
                </a:gridCol>
                <a:gridCol w="1520536">
                  <a:extLst>
                    <a:ext uri="{9D8B030D-6E8A-4147-A177-3AD203B41FA5}">
                      <a16:colId xmlns:a16="http://schemas.microsoft.com/office/drawing/2014/main" val="2519680742"/>
                    </a:ext>
                  </a:extLst>
                </a:gridCol>
                <a:gridCol w="1520536">
                  <a:extLst>
                    <a:ext uri="{9D8B030D-6E8A-4147-A177-3AD203B41FA5}">
                      <a16:colId xmlns:a16="http://schemas.microsoft.com/office/drawing/2014/main" val="1375875953"/>
                    </a:ext>
                  </a:extLst>
                </a:gridCol>
              </a:tblGrid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93488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5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F5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172921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D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EA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6147184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4846448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E4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456491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289781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F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12413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E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3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756119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8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320813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7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95074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E2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F1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78784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E3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291424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E6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8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007388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E5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52371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7160653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EA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83391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80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druhou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80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80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80+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595255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80+ aplikováno 304 813 dávek, z toho 92 542 jsou dávky druhé v pořadí 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090705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Prioritní skupiny pro očkování – aplikované dávky v ča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B053C5-2052-404C-9DD6-4DCA0E777EC7}"/>
              </a:ext>
            </a:extLst>
          </p:cNvPr>
          <p:cNvSpPr txBox="1"/>
          <p:nvPr/>
        </p:nvSpPr>
        <p:spPr>
          <a:xfrm>
            <a:off x="4413185" y="6388298"/>
            <a:ext cx="1646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vakcina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116649" y="3143254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/>
          </p:nvPr>
        </p:nvGraphicFramePr>
        <p:xfrm>
          <a:off x="657224" y="731338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75592" y="1555662"/>
          <a:ext cx="2586143" cy="3406760"/>
        </p:xfrm>
        <a:graphic>
          <a:graphicData uri="http://schemas.openxmlformats.org/drawingml/2006/table">
            <a:tbl>
              <a:tblPr/>
              <a:tblGrid>
                <a:gridCol w="1862243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8516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80+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8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8516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čtí pracovníci / ochrana veřejného zdraví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4 0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8516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a klienti v sociálních službá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 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8516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442835BF-F101-4F84-B183-D210FFF048AE}"/>
              </a:ext>
            </a:extLst>
          </p:cNvPr>
          <p:cNvSpPr/>
          <p:nvPr/>
        </p:nvSpPr>
        <p:spPr>
          <a:xfrm>
            <a:off x="9205510" y="5102283"/>
            <a:ext cx="27629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racovníci ve školství, osoby ve věku 70-79 let, pracovníci kritické infrastruktury a ostatní</a:t>
            </a:r>
          </a:p>
        </p:txBody>
      </p:sp>
    </p:spTree>
    <p:extLst>
      <p:ext uri="{BB962C8B-B14F-4D97-AF65-F5344CB8AC3E}">
        <p14:creationId xmlns:p14="http://schemas.microsoft.com/office/powerpoint/2010/main" val="39442332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 do 70 let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47079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638300" y="910196"/>
          <a:ext cx="8743949" cy="4400760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389937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717672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563451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563451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ctr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 do 70 let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4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9 0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5 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691359" y="-19496"/>
            <a:ext cx="14827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 3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94998" y="5586310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nahlášených do NZIS (Národní registr zdravotnických pracovníků – NRZP) poskytovateli zdravotních služeb jako aktivní v období od 1.12.2020 do současnosti.</a:t>
            </a:r>
          </a:p>
        </p:txBody>
      </p:sp>
    </p:spTree>
    <p:extLst>
      <p:ext uri="{BB962C8B-B14F-4D97-AF65-F5344CB8AC3E}">
        <p14:creationId xmlns:p14="http://schemas.microsoft.com/office/powerpoint/2010/main" val="8641832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vykázaných očkování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extLst/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/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kázaných očkování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 dávkou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počtu obyvatel ve věku 18 a více le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3.3.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.: Údaje o podílu vykázaných očkování nejsou u </a:t>
            </a: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htenštejnsk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stupné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vykázaných očkování </a:t>
            </a:r>
            <a:r>
              <a:rPr lang="cs-CZ" sz="2000" u="sng" dirty="0" smtClean="0">
                <a:latin typeface="+mj-lt"/>
              </a:rPr>
              <a:t>2. </a:t>
            </a:r>
            <a:r>
              <a:rPr lang="cs-CZ" sz="2000" u="sng" dirty="0">
                <a:latin typeface="+mj-lt"/>
              </a:rPr>
              <a:t>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/>
        </p:nvSpPr>
        <p:spPr>
          <a:xfrm rot="16200000">
            <a:off x="6134641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/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3.2021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lenské státy mohou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ásit údaje kdykoli, požaduje se však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ch,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y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učinily alespoň dvakrát týdně.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ohledem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tento fakt lze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orovat určité nesrovnalosti mezi čísly zveřejněnými ECDC a údaji uvedenými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iciálních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bových stránkách jednotlivých zemí. 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12110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/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smtClean="0"/>
                        <a:t>Podíl vykázaných očkování 2. dávkou z počtu obyvatel ve věku 18 a více let</a:t>
                      </a:r>
                      <a:r>
                        <a:rPr lang="cs-CZ" sz="1400" b="1" baseline="0" dirty="0" smtClean="0"/>
                        <a:t> do 3.3. 2021</a:t>
                      </a:r>
                      <a:endParaRPr lang="cs-CZ" sz="14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7%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5%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4%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3%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2%</a:t>
                      </a:r>
                    </a:p>
                  </a:txBody>
                  <a:tcPr marL="7620" marR="7620" marT="7620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vykázaných očkování </a:t>
            </a:r>
            <a:r>
              <a:rPr lang="cs-CZ" sz="2000" dirty="0" smtClean="0">
                <a:latin typeface="+mj-lt"/>
              </a:rPr>
              <a:t>2. </a:t>
            </a:r>
            <a:r>
              <a:rPr lang="cs-CZ" sz="2000" dirty="0">
                <a:latin typeface="+mj-lt"/>
              </a:rPr>
              <a:t>dávkou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/>
          </p:nvPr>
        </p:nvGraphicFramePr>
        <p:xfrm>
          <a:off x="6058960" y="857516"/>
          <a:ext cx="5013663" cy="4998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smtClean="0"/>
                        <a:t>Podíl vykázaných očkování 2. dávkou z počtu obyvatel ve věku 18 a více let</a:t>
                      </a:r>
                      <a:r>
                        <a:rPr lang="cs-CZ" sz="1400" b="1" baseline="0" dirty="0" smtClean="0"/>
                        <a:t> do 3.3. 2021</a:t>
                      </a:r>
                      <a:endParaRPr lang="cs-CZ" sz="14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7620" marR="7620" marT="7620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8%</a:t>
                      </a:r>
                    </a:p>
                  </a:txBody>
                  <a:tcPr marL="7620" marR="7620" marT="7620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8%</a:t>
                      </a:r>
                    </a:p>
                  </a:txBody>
                  <a:tcPr marL="7620" marR="7620" marT="7620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/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3.2021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8283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50284"/>
            <a:ext cx="11905307" cy="1974265"/>
          </a:xfrm>
        </p:spPr>
        <p:txBody>
          <a:bodyPr>
            <a:noAutofit/>
          </a:bodyPr>
          <a:lstStyle/>
          <a:p>
            <a:r>
              <a:rPr lang="cs-CZ" sz="4200" b="1" dirty="0" smtClean="0"/>
              <a:t>Klesající počet nákaz zdravotnických pracovníků </a:t>
            </a:r>
          </a:p>
          <a:p>
            <a:r>
              <a:rPr lang="cs-CZ" sz="4200" b="1" dirty="0" smtClean="0"/>
              <a:t>a v sociálních službách jako doklad pozitivního</a:t>
            </a:r>
          </a:p>
          <a:p>
            <a:r>
              <a:rPr lang="cs-CZ" sz="4200" b="1" dirty="0" smtClean="0"/>
              <a:t> efektu očkování </a:t>
            </a:r>
          </a:p>
        </p:txBody>
      </p:sp>
    </p:spTree>
    <p:extLst>
      <p:ext uri="{BB962C8B-B14F-4D97-AF65-F5344CB8AC3E}">
        <p14:creationId xmlns:p14="http://schemas.microsoft.com/office/powerpoint/2010/main" val="2219358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4. 3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>
            <p:extLst/>
          </p:nvPr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41312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9619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44264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15440" y="4473279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1842157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6D73C7-A918-4F37-9A6F-662B1D0684D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334423" y="2258086"/>
          <a:ext cx="9284184" cy="3623925"/>
        </p:xfrm>
        <a:graphic>
          <a:graphicData uri="http://schemas.openxmlformats.org/drawingml/2006/table">
            <a:tbl>
              <a:tblPr/>
              <a:tblGrid>
                <a:gridCol w="773682">
                  <a:extLst>
                    <a:ext uri="{9D8B030D-6E8A-4147-A177-3AD203B41FA5}">
                      <a16:colId xmlns:a16="http://schemas.microsoft.com/office/drawing/2014/main" val="3614778377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2624680361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4110020520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1031476029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2883517953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3910065991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2117009356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1727104080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1015254880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2019691112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775075002"/>
                    </a:ext>
                  </a:extLst>
                </a:gridCol>
                <a:gridCol w="773682">
                  <a:extLst>
                    <a:ext uri="{9D8B030D-6E8A-4147-A177-3AD203B41FA5}">
                      <a16:colId xmlns:a16="http://schemas.microsoft.com/office/drawing/2014/main" val="249798763"/>
                    </a:ext>
                  </a:extLst>
                </a:gridCol>
              </a:tblGrid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03864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575709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070952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794722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5763108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B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A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745017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4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9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676668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5015748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C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C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5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235383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6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164530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060199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8745918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1149497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689262"/>
                  </a:ext>
                </a:extLst>
              </a:tr>
              <a:tr h="241595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356123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4. 3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11D75F8F-B34A-488B-9D0F-5FDCC6E486A2}"/>
              </a:ext>
            </a:extLst>
          </p:cNvPr>
          <p:cNvSpPr txBox="1"/>
          <p:nvPr/>
        </p:nvSpPr>
        <p:spPr>
          <a:xfrm>
            <a:off x="2272363" y="5928051"/>
            <a:ext cx="92778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ýka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 (MZ) 2-01, E (MZ) 3-01 a E (MZ) 4-0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950E0F6-E678-4CE0-AF43-48B53C7244B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é škály vizualizují rozsah hodnot v územích v rámci sledovaného ukazatele (sloupce)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E1EE903-1F03-491D-8D2B-7B29E25CEB6D}"/>
              </a:ext>
            </a:extLst>
          </p:cNvPr>
          <p:cNvGrpSpPr/>
          <p:nvPr/>
        </p:nvGrpSpPr>
        <p:grpSpPr>
          <a:xfrm>
            <a:off x="2752602" y="6329139"/>
            <a:ext cx="2143122" cy="171474"/>
            <a:chOff x="733425" y="6437433"/>
            <a:chExt cx="2143122" cy="171474"/>
          </a:xfrm>
        </p:grpSpPr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19F507A3-6C51-4C50-BDE0-FC7738777B62}"/>
                </a:ext>
              </a:extLst>
            </p:cNvPr>
            <p:cNvSpPr txBox="1"/>
            <p:nvPr/>
          </p:nvSpPr>
          <p:spPr>
            <a:xfrm>
              <a:off x="733425" y="644399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063859A2-26BC-4A8F-9CBD-1E6DA5E5E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76253" y="6437433"/>
              <a:ext cx="1209844" cy="171474"/>
            </a:xfrm>
            <a:prstGeom prst="rect">
              <a:avLst/>
            </a:prstGeom>
          </p:spPr>
        </p:pic>
      </p:grpSp>
      <p:grpSp>
        <p:nvGrpSpPr>
          <p:cNvPr id="4" name="Skupina 3">
            <a:extLst>
              <a:ext uri="{FF2B5EF4-FFF2-40B4-BE49-F238E27FC236}">
                <a16:creationId xmlns:a16="http://schemas.microsoft.com/office/drawing/2014/main" id="{7E1098C3-07DD-4573-8460-4393C3DC1884}"/>
              </a:ext>
            </a:extLst>
          </p:cNvPr>
          <p:cNvGrpSpPr/>
          <p:nvPr/>
        </p:nvGrpSpPr>
        <p:grpSpPr>
          <a:xfrm>
            <a:off x="550678" y="6338235"/>
            <a:ext cx="2143122" cy="171474"/>
            <a:chOff x="2185672" y="6586960"/>
            <a:chExt cx="2143122" cy="171474"/>
          </a:xfrm>
        </p:grpSpPr>
        <p:sp>
          <p:nvSpPr>
            <p:cNvPr id="24" name="TextovéPole 23">
              <a:extLst>
                <a:ext uri="{FF2B5EF4-FFF2-40B4-BE49-F238E27FC236}">
                  <a16:creationId xmlns:a16="http://schemas.microsoft.com/office/drawing/2014/main" id="{8815FDE0-8005-4FD0-B810-5A94DCD100F2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03E96F25-4E74-4CBD-B919-655E3B7C4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5096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9598679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381739" y="693361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nově diagnostikovaných případ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ůstají, rychlost avšak klesá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F19677A2-6823-47FB-9EBC-DF7D298B1A46}"/>
              </a:ext>
            </a:extLst>
          </p:cNvPr>
          <p:cNvSpPr txBox="1"/>
          <p:nvPr/>
        </p:nvSpPr>
        <p:spPr>
          <a:xfrm>
            <a:off x="9648302" y="2191639"/>
            <a:ext cx="836689" cy="338554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E852F3D7-8A4C-4C82-83DC-D58B6F3415C0}"/>
              </a:ext>
            </a:extLst>
          </p:cNvPr>
          <p:cNvSpPr txBox="1"/>
          <p:nvPr/>
        </p:nvSpPr>
        <p:spPr>
          <a:xfrm>
            <a:off x="361249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E2E1C9C0-0936-4B7C-B94A-468879589653}"/>
              </a:ext>
            </a:extLst>
          </p:cNvPr>
          <p:cNvSpPr txBox="1"/>
          <p:nvPr/>
        </p:nvSpPr>
        <p:spPr>
          <a:xfrm>
            <a:off x="5685899" y="2171998"/>
            <a:ext cx="836689" cy="338554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15BCE15F-49C5-4D36-BF77-5A4B4266D7E1}"/>
              </a:ext>
            </a:extLst>
          </p:cNvPr>
          <p:cNvSpPr txBox="1"/>
          <p:nvPr/>
        </p:nvSpPr>
        <p:spPr>
          <a:xfrm>
            <a:off x="7664243" y="2171998"/>
            <a:ext cx="836689" cy="338554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Zahnutá šipka nahoru 25">
            <a:extLst>
              <a:ext uri="{FF2B5EF4-FFF2-40B4-BE49-F238E27FC236}">
                <a16:creationId xmlns:a16="http://schemas.microsoft.com/office/drawing/2014/main" id="{00325E53-B662-4A4A-BEF6-05DF3AB68B54}"/>
              </a:ext>
            </a:extLst>
          </p:cNvPr>
          <p:cNvSpPr/>
          <p:nvPr/>
        </p:nvSpPr>
        <p:spPr>
          <a:xfrm>
            <a:off x="3008871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Zahnutá šipka nahoru 25">
            <a:extLst>
              <a:ext uri="{FF2B5EF4-FFF2-40B4-BE49-F238E27FC236}">
                <a16:creationId xmlns:a16="http://schemas.microsoft.com/office/drawing/2014/main" id="{3D104656-0D3F-4BBA-A6F1-8B6D73AB64B5}"/>
              </a:ext>
            </a:extLst>
          </p:cNvPr>
          <p:cNvSpPr/>
          <p:nvPr/>
        </p:nvSpPr>
        <p:spPr>
          <a:xfrm>
            <a:off x="5079481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Zahnutá šipka nahoru 25">
            <a:extLst>
              <a:ext uri="{FF2B5EF4-FFF2-40B4-BE49-F238E27FC236}">
                <a16:creationId xmlns:a16="http://schemas.microsoft.com/office/drawing/2014/main" id="{5119DEE8-1E38-4EB8-8F5A-DEB07565A565}"/>
              </a:ext>
            </a:extLst>
          </p:cNvPr>
          <p:cNvSpPr/>
          <p:nvPr/>
        </p:nvSpPr>
        <p:spPr>
          <a:xfrm>
            <a:off x="7132339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Zahnutá šipka nahoru 25">
            <a:extLst>
              <a:ext uri="{FF2B5EF4-FFF2-40B4-BE49-F238E27FC236}">
                <a16:creationId xmlns:a16="http://schemas.microsoft.com/office/drawing/2014/main" id="{94EE29A2-AC9E-4574-9402-6123547A971C}"/>
              </a:ext>
            </a:extLst>
          </p:cNvPr>
          <p:cNvSpPr/>
          <p:nvPr/>
        </p:nvSpPr>
        <p:spPr>
          <a:xfrm>
            <a:off x="9165560" y="2261711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Zahnutá šipka nahoru 25">
            <a:extLst>
              <a:ext uri="{FF2B5EF4-FFF2-40B4-BE49-F238E27FC236}">
                <a16:creationId xmlns:a16="http://schemas.microsoft.com/office/drawing/2014/main" id="{966FB02D-D758-4358-8FE6-2AB07D6D6587}"/>
              </a:ext>
            </a:extLst>
          </p:cNvPr>
          <p:cNvSpPr/>
          <p:nvPr/>
        </p:nvSpPr>
        <p:spPr>
          <a:xfrm>
            <a:off x="901603" y="2261624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7B521542-8F14-4B12-9C58-E574B1CE2ECE}"/>
              </a:ext>
            </a:extLst>
          </p:cNvPr>
          <p:cNvSpPr txBox="1"/>
          <p:nvPr/>
        </p:nvSpPr>
        <p:spPr>
          <a:xfrm>
            <a:off x="1623365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7" name="Tabulka 4">
            <a:extLst>
              <a:ext uri="{FF2B5EF4-FFF2-40B4-BE49-F238E27FC236}">
                <a16:creationId xmlns:a16="http://schemas.microsoft.com/office/drawing/2014/main" id="{E1DD8FDC-AADD-498B-AD88-1814130AAA5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059" y="1819596"/>
          <a:ext cx="11880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26191376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7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sp>
        <p:nvSpPr>
          <p:cNvPr id="28" name="TextovéPole 27">
            <a:extLst>
              <a:ext uri="{FF2B5EF4-FFF2-40B4-BE49-F238E27FC236}">
                <a16:creationId xmlns:a16="http://schemas.microsoft.com/office/drawing/2014/main" id="{A08AFF73-E8E3-4D1C-B41A-F4F3E254CF4B}"/>
              </a:ext>
            </a:extLst>
          </p:cNvPr>
          <p:cNvSpPr txBox="1"/>
          <p:nvPr/>
        </p:nvSpPr>
        <p:spPr>
          <a:xfrm>
            <a:off x="180377" y="1221894"/>
            <a:ext cx="196282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. 1.–27. 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ED32691-EB9F-4879-A260-F1948B113F22}"/>
              </a:ext>
            </a:extLst>
          </p:cNvPr>
          <p:cNvSpPr txBox="1"/>
          <p:nvPr/>
        </p:nvSpPr>
        <p:spPr>
          <a:xfrm>
            <a:off x="2231977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. 1.–3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2BFD8942-2E15-491C-8EF8-366CA913151B}"/>
              </a:ext>
            </a:extLst>
          </p:cNvPr>
          <p:cNvSpPr txBox="1"/>
          <p:nvPr/>
        </p:nvSpPr>
        <p:spPr>
          <a:xfrm>
            <a:off x="4199101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2.–10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7A0ABCD-A179-4F38-8A9A-EFBCAAE4AC63}"/>
              </a:ext>
            </a:extLst>
          </p:cNvPr>
          <p:cNvSpPr txBox="1"/>
          <p:nvPr/>
        </p:nvSpPr>
        <p:spPr>
          <a:xfrm>
            <a:off x="6163238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. 2.–17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0CF5394-5A69-4072-93B3-E86ABF8AD532}"/>
              </a:ext>
            </a:extLst>
          </p:cNvPr>
          <p:cNvSpPr txBox="1"/>
          <p:nvPr/>
        </p:nvSpPr>
        <p:spPr>
          <a:xfrm>
            <a:off x="8143595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 2.–24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4755886C-448F-4C20-B271-49CC23016F17}"/>
              </a:ext>
            </a:extLst>
          </p:cNvPr>
          <p:cNvSpPr txBox="1"/>
          <p:nvPr/>
        </p:nvSpPr>
        <p:spPr>
          <a:xfrm>
            <a:off x="10106414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. 2</a:t>
            </a:r>
            <a:r>
              <a:rPr kumimoji="0" lang="cs-CZ" sz="16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5.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35" name="Tabulka 6">
            <a:extLst>
              <a:ext uri="{FF2B5EF4-FFF2-40B4-BE49-F238E27FC236}">
                <a16:creationId xmlns:a16="http://schemas.microsoft.com/office/drawing/2014/main" id="{0C288DFB-DB49-492A-88AF-6E8622CCDE8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19572" y="2154387"/>
          <a:ext cx="9481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42561082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09467333"/>
                    </a:ext>
                  </a:extLst>
                </a:gridCol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,0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9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,0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8,4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,8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609327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4. 3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5031708"/>
              </p:ext>
            </p:extLst>
          </p:nvPr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229104660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>
            <p:extLst/>
          </p:nvPr>
        </p:nvGraphicFramePr>
        <p:xfrm>
          <a:off x="506226" y="934057"/>
          <a:ext cx="1107896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cxnSp>
        <p:nvCxnSpPr>
          <p:cNvPr id="12" name="Straight Connector 4">
            <a:extLst>
              <a:ext uri="{FF2B5EF4-FFF2-40B4-BE49-F238E27FC236}">
                <a16:creationId xmlns:a16="http://schemas.microsoft.com/office/drawing/2014/main" id="{61A60986-249F-4FD7-AAA7-8BD13B1D7992}"/>
              </a:ext>
            </a:extLst>
          </p:cNvPr>
          <p:cNvCxnSpPr/>
          <p:nvPr/>
        </p:nvCxnSpPr>
        <p:spPr>
          <a:xfrm>
            <a:off x="7991450" y="1790849"/>
            <a:ext cx="635726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">
            <a:extLst>
              <a:ext uri="{FF2B5EF4-FFF2-40B4-BE49-F238E27FC236}">
                <a16:creationId xmlns:a16="http://schemas.microsoft.com/office/drawing/2014/main" id="{6D3E0B94-D581-4819-B5C9-9EB381E068C1}"/>
              </a:ext>
            </a:extLst>
          </p:cNvPr>
          <p:cNvSpPr txBox="1"/>
          <p:nvPr/>
        </p:nvSpPr>
        <p:spPr>
          <a:xfrm>
            <a:off x="8627176" y="16215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117799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152440" y="184231"/>
            <a:ext cx="118009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a současného</a:t>
            </a:r>
            <a:r>
              <a:rPr kumimoji="0" lang="cs-CZ" sz="4400" b="1" i="0" u="sng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4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u trvají</a:t>
            </a:r>
            <a:endParaRPr kumimoji="0" lang="cs-CZ" sz="4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 rot="2872147">
            <a:off x="3496849" y="996590"/>
            <a:ext cx="432357" cy="8351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 rot="19062922">
            <a:off x="7978927" y="1008535"/>
            <a:ext cx="432357" cy="8351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334180" y="1979540"/>
            <a:ext cx="412012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tále 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ilné komunitní</a:t>
            </a:r>
            <a:r>
              <a:rPr kumimoji="0" lang="cs-CZ" sz="26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šíření </a:t>
            </a:r>
            <a:r>
              <a:rPr kumimoji="0" lang="cs-CZ" sz="2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nákazy, postupující šíření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britské </a:t>
            </a:r>
            <a:r>
              <a:rPr kumimoji="0" lang="cs-CZ" sz="26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mutace viru 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7083910" y="1938291"/>
            <a:ext cx="486946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ysoká obsazenost nemocnic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</a:rPr>
              <a:t>–</a:t>
            </a:r>
            <a:r>
              <a:rPr kumimoji="0" lang="cs-CZ" sz="2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</a:rPr>
              <a:t> v některých regionech vysoce rizikový stav</a:t>
            </a:r>
            <a:endParaRPr kumimoji="0" lang="cs-CZ" sz="2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459168" y="1812527"/>
            <a:ext cx="768229" cy="20435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133220" y="3991823"/>
            <a:ext cx="95091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a velkého množství zranitelných pacientů (v pracovních </a:t>
            </a: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ech průměrně &gt; 2 000)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522547" y="5244323"/>
            <a:ext cx="768229" cy="51454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372972" y="5913673"/>
            <a:ext cx="110673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 vyčerpání všech volných </a:t>
            </a:r>
            <a:r>
              <a:rPr lang="cs-CZ" sz="3600" b="1" dirty="0" smtClean="0">
                <a:solidFill>
                  <a:srgbClr val="C00000"/>
                </a:solidFill>
                <a:latin typeface="Calibri" panose="020F0502020204030204"/>
              </a:rPr>
              <a:t>kapacit </a:t>
            </a:r>
            <a:r>
              <a:rPr lang="cs-CZ" sz="3600" b="1" dirty="0" smtClean="0">
                <a:solidFill>
                  <a:srgbClr val="C00000"/>
                </a:solidFill>
              </a:rPr>
              <a:t>nemocniční péče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372972" y="4176489"/>
            <a:ext cx="760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  <a:endParaRPr lang="cs-CZ" sz="60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10642393" y="4155476"/>
            <a:ext cx="760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  <a:endParaRPr lang="cs-CZ" sz="60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049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164316" y="96457"/>
            <a:ext cx="118009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ým rizikovým ukazatelem je vysoký</a:t>
            </a:r>
            <a:r>
              <a:rPr kumimoji="0" lang="cs-CZ" sz="3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díl pozitivních diagnóz z provedených testů, zejména testů diagnosticky a klinicky indikovaných  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5288926" y="5912527"/>
            <a:ext cx="1551709" cy="70196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289608"/>
              </p:ext>
            </p:extLst>
          </p:nvPr>
        </p:nvGraphicFramePr>
        <p:xfrm>
          <a:off x="1787192" y="2082649"/>
          <a:ext cx="8555181" cy="22088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74423">
                  <a:extLst>
                    <a:ext uri="{9D8B030D-6E8A-4147-A177-3AD203B41FA5}">
                      <a16:colId xmlns:a16="http://schemas.microsoft.com/office/drawing/2014/main" val="4104651344"/>
                    </a:ext>
                  </a:extLst>
                </a:gridCol>
                <a:gridCol w="2612571">
                  <a:extLst>
                    <a:ext uri="{9D8B030D-6E8A-4147-A177-3AD203B41FA5}">
                      <a16:colId xmlns:a16="http://schemas.microsoft.com/office/drawing/2014/main" val="2729172497"/>
                    </a:ext>
                  </a:extLst>
                </a:gridCol>
                <a:gridCol w="2268187">
                  <a:extLst>
                    <a:ext uri="{9D8B030D-6E8A-4147-A177-3AD203B41FA5}">
                      <a16:colId xmlns:a16="http://schemas.microsoft.com/office/drawing/2014/main" val="2680672355"/>
                    </a:ext>
                  </a:extLst>
                </a:gridCol>
              </a:tblGrid>
              <a:tr h="8957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effectLst/>
                        </a:rPr>
                        <a:t>Relativní pozitivita testů </a:t>
                      </a:r>
                      <a:endParaRPr lang="cs-CZ" sz="2200" dirty="0" smtClean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dle </a:t>
                      </a:r>
                      <a:r>
                        <a:rPr lang="cs-CZ" sz="2200" dirty="0">
                          <a:effectLst/>
                        </a:rPr>
                        <a:t>indikace 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effectLst/>
                        </a:rPr>
                        <a:t>Za </a:t>
                      </a:r>
                      <a:r>
                        <a:rPr lang="cs-CZ" sz="2200" dirty="0" smtClean="0">
                          <a:effectLst/>
                        </a:rPr>
                        <a:t>4.3</a:t>
                      </a:r>
                      <a:r>
                        <a:rPr lang="cs-CZ" sz="2200" dirty="0">
                          <a:effectLst/>
                        </a:rPr>
                        <a:t>.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effectLst/>
                        </a:rPr>
                        <a:t>7denní průměr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709864"/>
                  </a:ext>
                </a:extLst>
              </a:tr>
              <a:tr h="4377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effectLst/>
                        </a:rPr>
                        <a:t>Diagnostická indikace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39,1%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39,2%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87231162"/>
                  </a:ext>
                </a:extLst>
              </a:tr>
              <a:tr h="4377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effectLst/>
                        </a:rPr>
                        <a:t>Epidemiologická indikace</a:t>
                      </a:r>
                      <a:endParaRPr lang="cs-CZ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19,8%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21,2%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79930148"/>
                  </a:ext>
                </a:extLst>
              </a:tr>
              <a:tr h="4377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effectLst/>
                        </a:rPr>
                        <a:t>Preventivní a plošné testování</a:t>
                      </a:r>
                      <a:endParaRPr lang="cs-CZ" sz="2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1,5%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 smtClean="0">
                          <a:effectLst/>
                        </a:rPr>
                        <a:t>1,6%</a:t>
                      </a:r>
                      <a:endParaRPr lang="cs-CZ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90689390"/>
                  </a:ext>
                </a:extLst>
              </a:tr>
            </a:tbl>
          </a:graphicData>
        </a:graphic>
      </p:graphicFrame>
      <p:sp>
        <p:nvSpPr>
          <p:cNvPr id="8" name="TextovéPole 7"/>
          <p:cNvSpPr txBox="1"/>
          <p:nvPr/>
        </p:nvSpPr>
        <p:spPr>
          <a:xfrm>
            <a:off x="1097430" y="4622584"/>
            <a:ext cx="99347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</a:rPr>
              <a:t>Hodnoty téměř na</a:t>
            </a:r>
            <a:r>
              <a:rPr kumimoji="0" lang="cs-CZ" sz="3000" i="1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</a:rPr>
              <a:t> hranici 40% relativní pozitivity jsou velmi rizikové a ukazují na vysokou hladinu virové nálože v populaci. </a:t>
            </a:r>
            <a:endParaRPr kumimoji="0" lang="cs-CZ" sz="30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621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sz="2400" dirty="0">
                <a:latin typeface="+mn-lt"/>
              </a:rPr>
              <a:t>Podíl pozitivních testů: diagnostické </a:t>
            </a:r>
            <a:r>
              <a:rPr lang="cs-CZ" sz="2400" dirty="0" smtClean="0">
                <a:latin typeface="+mn-lt"/>
              </a:rPr>
              <a:t>a klinické indikace </a:t>
            </a:r>
            <a:endParaRPr lang="cs-CZ" sz="2400" dirty="0">
              <a:latin typeface="+mn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1676661" y="3684641"/>
            <a:ext cx="4358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5813143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ovéPole 2"/>
          <p:cNvSpPr txBox="1"/>
          <p:nvPr/>
        </p:nvSpPr>
        <p:spPr>
          <a:xfrm>
            <a:off x="6081829" y="936131"/>
            <a:ext cx="55084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Relativní pozitivita těchto testů nyní v mírně rostoucím trendu osciluje kolem hodnoty 40%. Nicméně neeskaluje k stále vyšším hodnotám. Nastupující stagnace vývoje patrná v posledních dnech je prvním signálem zpomalení rychlosti šíření nákazy v populaci. </a:t>
            </a:r>
            <a:endParaRPr lang="cs-CZ" dirty="0"/>
          </a:p>
        </p:txBody>
      </p:sp>
      <p:sp>
        <p:nvSpPr>
          <p:cNvPr id="4" name="Šipka doprava 3"/>
          <p:cNvSpPr/>
          <p:nvPr/>
        </p:nvSpPr>
        <p:spPr>
          <a:xfrm rot="10800000">
            <a:off x="5318960" y="1282453"/>
            <a:ext cx="597633" cy="7846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Šipka doprava 9"/>
          <p:cNvSpPr/>
          <p:nvPr/>
        </p:nvSpPr>
        <p:spPr>
          <a:xfrm rot="5400000">
            <a:off x="10822484" y="2224951"/>
            <a:ext cx="597633" cy="7846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89035A64-0D86-4F2C-896C-E1196488E6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740811"/>
              </p:ext>
            </p:extLst>
          </p:nvPr>
        </p:nvGraphicFramePr>
        <p:xfrm>
          <a:off x="1800104" y="791193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 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2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3188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702688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80995D50-4776-4506-93F8-6BD71CF7ED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0276062"/>
              </p:ext>
            </p:extLst>
          </p:nvPr>
        </p:nvGraphicFramePr>
        <p:xfrm>
          <a:off x="6753508" y="1475118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2 777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6 886 (80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symptomatičtí N = 39 383 (47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27 503 (33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5 891 (19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 = 10 478 (12,7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5 413 (6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  <p:sp>
        <p:nvSpPr>
          <p:cNvPr id="60" name="TextBox 59">
            <a:extLst>
              <a:ext uri="{FF2B5EF4-FFF2-40B4-BE49-F238E27FC236}">
                <a16:creationId xmlns:a16="http://schemas.microsoft.com/office/drawing/2014/main" id="{9602BDD7-27C5-406C-B27E-8A4113784C2E}"/>
              </a:ext>
            </a:extLst>
          </p:cNvPr>
          <p:cNvSpPr txBox="1"/>
          <p:nvPr/>
        </p:nvSpPr>
        <p:spPr>
          <a:xfrm>
            <a:off x="6132176" y="715317"/>
            <a:ext cx="288893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dob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 2. 2021–28. 2. 2021</a:t>
            </a:r>
          </a:p>
        </p:txBody>
      </p: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1273C70C-BF3A-479C-B97D-041BD72A5FE6}"/>
              </a:ext>
            </a:extLst>
          </p:cNvPr>
          <p:cNvCxnSpPr>
            <a:cxnSpLocks/>
            <a:stCxn id="66" idx="2"/>
            <a:endCxn id="69" idx="2"/>
          </p:cNvCxnSpPr>
          <p:nvPr/>
        </p:nvCxnSpPr>
        <p:spPr>
          <a:xfrm rot="10800000" flipH="1" flipV="1">
            <a:off x="6589011" y="1776253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4619065E-C70A-4F46-9B4D-FF45C6BF4C7C}"/>
              </a:ext>
            </a:extLst>
          </p:cNvPr>
          <p:cNvCxnSpPr>
            <a:cxnSpLocks/>
            <a:stCxn id="72" idx="2"/>
            <a:endCxn id="67" idx="2"/>
          </p:cNvCxnSpPr>
          <p:nvPr/>
        </p:nvCxnSpPr>
        <p:spPr>
          <a:xfrm rot="10800000" flipH="1" flipV="1">
            <a:off x="6921087" y="2288647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FC802AFD-2BC8-4452-896A-26E5308DB656}"/>
              </a:ext>
            </a:extLst>
          </p:cNvPr>
          <p:cNvCxnSpPr>
            <a:cxnSpLocks/>
            <a:stCxn id="72" idx="2"/>
            <a:endCxn id="68" idx="2"/>
          </p:cNvCxnSpPr>
          <p:nvPr/>
        </p:nvCxnSpPr>
        <p:spPr>
          <a:xfrm rot="10800000" flipH="1" flipV="1">
            <a:off x="6921087" y="2288647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9AC63DBA-271D-4D3D-A682-96B3613D4C60}"/>
              </a:ext>
            </a:extLst>
          </p:cNvPr>
          <p:cNvCxnSpPr>
            <a:cxnSpLocks/>
            <a:stCxn id="69" idx="2"/>
            <a:endCxn id="70" idx="2"/>
          </p:cNvCxnSpPr>
          <p:nvPr/>
        </p:nvCxnSpPr>
        <p:spPr>
          <a:xfrm rot="10800000" flipH="1" flipV="1">
            <a:off x="6921087" y="3930312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41A4609A-2730-4987-B1C5-A649D3E346BF}"/>
              </a:ext>
            </a:extLst>
          </p:cNvPr>
          <p:cNvCxnSpPr>
            <a:cxnSpLocks/>
            <a:stCxn id="69" idx="2"/>
            <a:endCxn id="71" idx="2"/>
          </p:cNvCxnSpPr>
          <p:nvPr/>
        </p:nvCxnSpPr>
        <p:spPr>
          <a:xfrm rot="10800000" flipH="1" flipV="1">
            <a:off x="6921087" y="3930313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67AAD94C-4532-4F9B-A342-53990B7830C9}"/>
              </a:ext>
            </a:extLst>
          </p:cNvPr>
          <p:cNvSpPr/>
          <p:nvPr/>
        </p:nvSpPr>
        <p:spPr>
          <a:xfrm>
            <a:off x="6589011" y="172225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5B25FD8-2C0B-4F9A-AA9B-E58400588461}"/>
              </a:ext>
            </a:extLst>
          </p:cNvPr>
          <p:cNvSpPr/>
          <p:nvPr/>
        </p:nvSpPr>
        <p:spPr>
          <a:xfrm>
            <a:off x="7401989" y="278864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70163B7B-CA20-43C9-BDB5-5CDF0F87660A}"/>
              </a:ext>
            </a:extLst>
          </p:cNvPr>
          <p:cNvSpPr/>
          <p:nvPr/>
        </p:nvSpPr>
        <p:spPr>
          <a:xfrm>
            <a:off x="7401989" y="33317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A694CB3-CDE4-4FC6-A949-BEEC193745E8}"/>
              </a:ext>
            </a:extLst>
          </p:cNvPr>
          <p:cNvSpPr/>
          <p:nvPr/>
        </p:nvSpPr>
        <p:spPr>
          <a:xfrm>
            <a:off x="6921087" y="387631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1842FE78-64A6-4062-88BB-53893E6FD897}"/>
              </a:ext>
            </a:extLst>
          </p:cNvPr>
          <p:cNvSpPr/>
          <p:nvPr/>
        </p:nvSpPr>
        <p:spPr>
          <a:xfrm>
            <a:off x="7401989" y="443546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4472FCC-90E8-4D11-943B-F13221D595BE}"/>
              </a:ext>
            </a:extLst>
          </p:cNvPr>
          <p:cNvSpPr/>
          <p:nvPr/>
        </p:nvSpPr>
        <p:spPr>
          <a:xfrm>
            <a:off x="7401989" y="496561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D2C1D709-B145-4522-AC77-3F0FCDCEC69A}"/>
              </a:ext>
            </a:extLst>
          </p:cNvPr>
          <p:cNvSpPr/>
          <p:nvPr/>
        </p:nvSpPr>
        <p:spPr>
          <a:xfrm>
            <a:off x="6921087" y="223464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A9B6F843-DC6A-477D-BDF3-A6F54EA9C29B}"/>
              </a:ext>
            </a:extLst>
          </p:cNvPr>
          <p:cNvCxnSpPr>
            <a:cxnSpLocks/>
            <a:stCxn id="66" idx="2"/>
            <a:endCxn id="72" idx="2"/>
          </p:cNvCxnSpPr>
          <p:nvPr/>
        </p:nvCxnSpPr>
        <p:spPr>
          <a:xfrm rot="10800000" flipH="1" flipV="1">
            <a:off x="6589011" y="1776253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/>
          <p:cNvSpPr txBox="1"/>
          <p:nvPr/>
        </p:nvSpPr>
        <p:spPr>
          <a:xfrm>
            <a:off x="554987" y="5897713"/>
            <a:ext cx="11249085" cy="92333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>
                <a:solidFill>
                  <a:schemeClr val="bg1"/>
                </a:solidFill>
              </a:rPr>
              <a:t>Až 60 – 65 % nově diagnostikovaných případů jsou pacienti se symptomy a klinickými příznaky COVID-19. Tento vysoký podíl je rovněž indikátorem rizikovosti stávající epidemické situace. Antigenní testy se podílejí na denních pozitivních záchytech z cca 17 - 20%. </a:t>
            </a:r>
            <a:endParaRPr lang="cs-CZ" b="1" dirty="0">
              <a:solidFill>
                <a:schemeClr val="bg1"/>
              </a:solidFill>
            </a:endParaRPr>
          </a:p>
        </p:txBody>
      </p: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1F111E8D-1AA1-499E-9A1D-8C3F4659BE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492734"/>
              </p:ext>
            </p:extLst>
          </p:nvPr>
        </p:nvGraphicFramePr>
        <p:xfrm>
          <a:off x="719486" y="1581994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3 074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760 (82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symptomatičtí N = 6 651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4 109 (31,4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 314 (17,7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 = 1 505 (11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809 (6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36" name="TextBox 18">
            <a:extLst>
              <a:ext uri="{FF2B5EF4-FFF2-40B4-BE49-F238E27FC236}">
                <a16:creationId xmlns:a16="http://schemas.microsoft.com/office/drawing/2014/main" id="{F87802C8-B4F5-40B3-877D-F3173E5C55DF}"/>
              </a:ext>
            </a:extLst>
          </p:cNvPr>
          <p:cNvSpPr txBox="1"/>
          <p:nvPr/>
        </p:nvSpPr>
        <p:spPr>
          <a:xfrm>
            <a:off x="98154" y="822193"/>
            <a:ext cx="13227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dob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5.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2021</a:t>
            </a:r>
          </a:p>
        </p:txBody>
      </p:sp>
      <p:cxnSp>
        <p:nvCxnSpPr>
          <p:cNvPr id="39" name="Connector: Elbow 27">
            <a:extLst>
              <a:ext uri="{FF2B5EF4-FFF2-40B4-BE49-F238E27FC236}">
                <a16:creationId xmlns:a16="http://schemas.microsoft.com/office/drawing/2014/main" id="{E15461F0-DBCA-44B3-AFC4-5694F927470E}"/>
              </a:ext>
            </a:extLst>
          </p:cNvPr>
          <p:cNvCxnSpPr>
            <a:cxnSpLocks/>
            <a:stCxn id="44" idx="2"/>
            <a:endCxn id="47" idx="2"/>
          </p:cNvCxnSpPr>
          <p:nvPr/>
        </p:nvCxnSpPr>
        <p:spPr>
          <a:xfrm rot="10800000" flipH="1" flipV="1">
            <a:off x="554989" y="1883129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28">
            <a:extLst>
              <a:ext uri="{FF2B5EF4-FFF2-40B4-BE49-F238E27FC236}">
                <a16:creationId xmlns:a16="http://schemas.microsoft.com/office/drawing/2014/main" id="{9271E85C-78F8-4C16-95BE-7AA494C7B8F4}"/>
              </a:ext>
            </a:extLst>
          </p:cNvPr>
          <p:cNvCxnSpPr>
            <a:cxnSpLocks/>
            <a:stCxn id="50" idx="2"/>
            <a:endCxn id="45" idx="2"/>
          </p:cNvCxnSpPr>
          <p:nvPr/>
        </p:nvCxnSpPr>
        <p:spPr>
          <a:xfrm rot="10800000" flipH="1" flipV="1">
            <a:off x="887065" y="2395523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29">
            <a:extLst>
              <a:ext uri="{FF2B5EF4-FFF2-40B4-BE49-F238E27FC236}">
                <a16:creationId xmlns:a16="http://schemas.microsoft.com/office/drawing/2014/main" id="{474FEBAB-195E-4F06-9191-A0CC61BE84DF}"/>
              </a:ext>
            </a:extLst>
          </p:cNvPr>
          <p:cNvCxnSpPr>
            <a:cxnSpLocks/>
            <a:stCxn id="50" idx="2"/>
            <a:endCxn id="46" idx="2"/>
          </p:cNvCxnSpPr>
          <p:nvPr/>
        </p:nvCxnSpPr>
        <p:spPr>
          <a:xfrm rot="10800000" flipH="1" flipV="1">
            <a:off x="887065" y="2395523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30">
            <a:extLst>
              <a:ext uri="{FF2B5EF4-FFF2-40B4-BE49-F238E27FC236}">
                <a16:creationId xmlns:a16="http://schemas.microsoft.com/office/drawing/2014/main" id="{7BADC4EC-AE28-436C-8F06-086171D52513}"/>
              </a:ext>
            </a:extLst>
          </p:cNvPr>
          <p:cNvCxnSpPr>
            <a:cxnSpLocks/>
            <a:stCxn id="47" idx="2"/>
            <a:endCxn id="48" idx="2"/>
          </p:cNvCxnSpPr>
          <p:nvPr/>
        </p:nvCxnSpPr>
        <p:spPr>
          <a:xfrm rot="10800000" flipH="1" flipV="1">
            <a:off x="887065" y="4037188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31">
            <a:extLst>
              <a:ext uri="{FF2B5EF4-FFF2-40B4-BE49-F238E27FC236}">
                <a16:creationId xmlns:a16="http://schemas.microsoft.com/office/drawing/2014/main" id="{57BD6D97-4B7C-4511-B572-1A288E246C80}"/>
              </a:ext>
            </a:extLst>
          </p:cNvPr>
          <p:cNvCxnSpPr>
            <a:cxnSpLocks/>
            <a:stCxn id="47" idx="2"/>
            <a:endCxn id="49" idx="2"/>
          </p:cNvCxnSpPr>
          <p:nvPr/>
        </p:nvCxnSpPr>
        <p:spPr>
          <a:xfrm rot="10800000" flipH="1" flipV="1">
            <a:off x="887065" y="4037189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7">
            <a:extLst>
              <a:ext uri="{FF2B5EF4-FFF2-40B4-BE49-F238E27FC236}">
                <a16:creationId xmlns:a16="http://schemas.microsoft.com/office/drawing/2014/main" id="{FAE8D145-8FEC-4B22-9DDC-0C5CCB6DFBE0}"/>
              </a:ext>
            </a:extLst>
          </p:cNvPr>
          <p:cNvSpPr/>
          <p:nvPr/>
        </p:nvSpPr>
        <p:spPr>
          <a:xfrm>
            <a:off x="554989" y="18291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Oval 36">
            <a:extLst>
              <a:ext uri="{FF2B5EF4-FFF2-40B4-BE49-F238E27FC236}">
                <a16:creationId xmlns:a16="http://schemas.microsoft.com/office/drawing/2014/main" id="{E3F6BD1E-922A-4BC0-B4A6-4ACA15309ABA}"/>
              </a:ext>
            </a:extLst>
          </p:cNvPr>
          <p:cNvSpPr/>
          <p:nvPr/>
        </p:nvSpPr>
        <p:spPr>
          <a:xfrm>
            <a:off x="1367967" y="289552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Oval 37">
            <a:extLst>
              <a:ext uri="{FF2B5EF4-FFF2-40B4-BE49-F238E27FC236}">
                <a16:creationId xmlns:a16="http://schemas.microsoft.com/office/drawing/2014/main" id="{6E8A58F7-A37E-4A46-B91F-E1531FA7DBCF}"/>
              </a:ext>
            </a:extLst>
          </p:cNvPr>
          <p:cNvSpPr/>
          <p:nvPr/>
        </p:nvSpPr>
        <p:spPr>
          <a:xfrm>
            <a:off x="1367967" y="34386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Oval 51">
            <a:extLst>
              <a:ext uri="{FF2B5EF4-FFF2-40B4-BE49-F238E27FC236}">
                <a16:creationId xmlns:a16="http://schemas.microsoft.com/office/drawing/2014/main" id="{E122BBD1-B781-45E1-93C9-27579E97D080}"/>
              </a:ext>
            </a:extLst>
          </p:cNvPr>
          <p:cNvSpPr/>
          <p:nvPr/>
        </p:nvSpPr>
        <p:spPr>
          <a:xfrm>
            <a:off x="887065" y="39831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52">
            <a:extLst>
              <a:ext uri="{FF2B5EF4-FFF2-40B4-BE49-F238E27FC236}">
                <a16:creationId xmlns:a16="http://schemas.microsoft.com/office/drawing/2014/main" id="{E467B314-222D-4391-9E19-F81044FDCE57}"/>
              </a:ext>
            </a:extLst>
          </p:cNvPr>
          <p:cNvSpPr/>
          <p:nvPr/>
        </p:nvSpPr>
        <p:spPr>
          <a:xfrm>
            <a:off x="1367967" y="454234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53">
            <a:extLst>
              <a:ext uri="{FF2B5EF4-FFF2-40B4-BE49-F238E27FC236}">
                <a16:creationId xmlns:a16="http://schemas.microsoft.com/office/drawing/2014/main" id="{FFAD26FE-83EB-4869-AEC9-A07D1787F937}"/>
              </a:ext>
            </a:extLst>
          </p:cNvPr>
          <p:cNvSpPr/>
          <p:nvPr/>
        </p:nvSpPr>
        <p:spPr>
          <a:xfrm>
            <a:off x="1367967" y="507249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54">
            <a:extLst>
              <a:ext uri="{FF2B5EF4-FFF2-40B4-BE49-F238E27FC236}">
                <a16:creationId xmlns:a16="http://schemas.microsoft.com/office/drawing/2014/main" id="{16884E67-B8DF-4A7E-9B5A-352970057F35}"/>
              </a:ext>
            </a:extLst>
          </p:cNvPr>
          <p:cNvSpPr/>
          <p:nvPr/>
        </p:nvSpPr>
        <p:spPr>
          <a:xfrm>
            <a:off x="887065" y="234152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1" name="Connector: Elbow 55">
            <a:extLst>
              <a:ext uri="{FF2B5EF4-FFF2-40B4-BE49-F238E27FC236}">
                <a16:creationId xmlns:a16="http://schemas.microsoft.com/office/drawing/2014/main" id="{78F98DE0-687E-41A7-A543-4683BA96AB1A}"/>
              </a:ext>
            </a:extLst>
          </p:cNvPr>
          <p:cNvCxnSpPr>
            <a:cxnSpLocks/>
            <a:stCxn id="44" idx="2"/>
            <a:endCxn id="50" idx="2"/>
          </p:cNvCxnSpPr>
          <p:nvPr/>
        </p:nvCxnSpPr>
        <p:spPr>
          <a:xfrm rot="10800000" flipH="1" flipV="1">
            <a:off x="554989" y="1883129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8834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1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2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3.xml><?xml version="1.0" encoding="utf-8"?>
<a:theme xmlns:a="http://schemas.openxmlformats.org/drawingml/2006/main" name="10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8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Override1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926</TotalTime>
  <Words>6697</Words>
  <Application>Microsoft Office PowerPoint</Application>
  <PresentationFormat>Širokoúhlá obrazovka</PresentationFormat>
  <Paragraphs>2001</Paragraphs>
  <Slides>51</Slides>
  <Notes>26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3</vt:i4>
      </vt:variant>
      <vt:variant>
        <vt:lpstr>Nadpisy snímků</vt:lpstr>
      </vt:variant>
      <vt:variant>
        <vt:i4>51</vt:i4>
      </vt:variant>
    </vt:vector>
  </HeadingPairs>
  <TitlesOfParts>
    <vt:vector size="71" baseType="lpstr">
      <vt:lpstr>Arial</vt:lpstr>
      <vt:lpstr>Arial (Základní text)</vt:lpstr>
      <vt:lpstr>Arial Black</vt:lpstr>
      <vt:lpstr>Calibri</vt:lpstr>
      <vt:lpstr>Calibri Light</vt:lpstr>
      <vt:lpstr>Segoe UI</vt:lpstr>
      <vt:lpstr>Times New Roman</vt:lpstr>
      <vt:lpstr>Motiv Office</vt:lpstr>
      <vt:lpstr>1_Motiv systému Office</vt:lpstr>
      <vt:lpstr>2_Motiv Office</vt:lpstr>
      <vt:lpstr>6_Motiv Office</vt:lpstr>
      <vt:lpstr>Office Theme</vt:lpstr>
      <vt:lpstr>4_Motiv Office</vt:lpstr>
      <vt:lpstr>1_Motiv Office</vt:lpstr>
      <vt:lpstr>5_Motiv Office</vt:lpstr>
      <vt:lpstr>7_Motiv Office</vt:lpstr>
      <vt:lpstr>8_Motiv Office</vt:lpstr>
      <vt:lpstr>3_Motiv Office</vt:lpstr>
      <vt:lpstr>9_Motiv Office</vt:lpstr>
      <vt:lpstr>10_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očty nově diagnostikovaných pacientů: týdenní vývoj </vt:lpstr>
      <vt:lpstr>Prezentace aplikace PowerPoint</vt:lpstr>
      <vt:lpstr>Prezentace aplikace PowerPoint</vt:lpstr>
      <vt:lpstr>Podíl pozitivních testů: diagnostické a klinické indikace </vt:lpstr>
      <vt:lpstr>Typologie pozitivních případů</vt:lpstr>
      <vt:lpstr>Prezentace aplikace PowerPoint</vt:lpstr>
      <vt:lpstr>14 denní počet nových případů (na 100 000 obyv.) v ORP</vt:lpstr>
      <vt:lpstr>Nejvíce zatížené okresy dle nových případů za 14 dní na 100 000 obyvatel</vt:lpstr>
      <vt:lpstr>Nejvíce zatížené okresy dle nových případů za 14 dní na 100 000 obyvatel</vt:lpstr>
      <vt:lpstr>Vybrané ukazatele – srovnání regionů</vt:lpstr>
      <vt:lpstr>14denní incidence na 100 tisíc obyvatel</vt:lpstr>
      <vt:lpstr>14denní incidence 65+ na 100 tisíc obyvatel 65+</vt:lpstr>
      <vt:lpstr>14denní incidence 75+ na 100 tisíc obyvatel 75+</vt:lpstr>
      <vt:lpstr>Datová a informační základna  pro management pandemie COVID-19</vt:lpstr>
      <vt:lpstr>Prezentace aplikace PowerPoint</vt:lpstr>
      <vt:lpstr>Procentuální změna týdenního kumulativního počtu potvrzených případů</vt:lpstr>
      <vt:lpstr>Počet provedených testů v zemích EU a EHP</vt:lpstr>
      <vt:lpstr>Počet provedených testů v zemích EU a EHP</vt:lpstr>
      <vt:lpstr>Počet provedených testů v zemích EU a EHP  od 25.1. 2021 do 28.2.2021</vt:lpstr>
      <vt:lpstr>Datová a informační základna  pro management pandemie COVID-19</vt:lpstr>
      <vt:lpstr>Prezentace aplikace PowerPoint</vt:lpstr>
      <vt:lpstr>Prezentace aplikace PowerPoint</vt:lpstr>
      <vt:lpstr> Aktuální počty hospitalizovaných pacientů jsou extrémní a zejména v segmentu vysoce intenzivní péče začínají v nejvíce zatížených regionech limitně vyčerpávat dostupné kapacity.  </vt:lpstr>
      <vt:lpstr>Počty hospitalizovaných pacientů na JIP: týdenní vývoj</vt:lpstr>
      <vt:lpstr>Počty hosp. pacientů s UPV+ECMO: týdenní vývoj</vt:lpstr>
      <vt:lpstr>Prezentace aplikace PowerPoint</vt:lpstr>
      <vt:lpstr>Národní dispečink lůžkové péče</vt:lpstr>
      <vt:lpstr>Prezentace aplikace PowerPoint</vt:lpstr>
      <vt:lpstr>Prezentace aplikace PowerPoint</vt:lpstr>
      <vt:lpstr>Prezentace aplikace PowerPoint</vt:lpstr>
      <vt:lpstr>Vakcinovaní po regionech</vt:lpstr>
      <vt:lpstr>Vývoj celkového počtu aplikovaných dávek vakcín v čase </vt:lpstr>
      <vt:lpstr>Přehled dle místa bydliště</vt:lpstr>
      <vt:lpstr>Očkovaní v krajích (podle místa bydliště)</vt:lpstr>
      <vt:lpstr>Očkovaní dle vybraných skupin </vt:lpstr>
      <vt:lpstr>Vakcinace dle kategorií: dávky </vt:lpstr>
      <vt:lpstr>Registrace a očkování u seniorních skupin </vt:lpstr>
      <vt:lpstr>Očkovaní 80+ let – přehled podle regionů</vt:lpstr>
      <vt:lpstr>Prioritní skupiny pro očkování – aplikované dávky v čase</vt:lpstr>
      <vt:lpstr>Očkovaní aktivní zdravotničtí pracovníci do 70 let</vt:lpstr>
      <vt:lpstr>Podíl vykázaných očkování 2. dávkou v zemích EU a EHP</vt:lpstr>
      <vt:lpstr>Podíl vykázaných očkování 2. dávkou v zemích EU a EHP</vt:lpstr>
      <vt:lpstr>Datová a informační základna  pro management pandemie COVID-19</vt:lpstr>
      <vt:lpstr>Počty pracovníků ve zdravotnictví s nákazou COVID-19</vt:lpstr>
      <vt:lpstr>Počty pracovníků ve zdravotnictví s nákazou COVID-19</vt:lpstr>
      <vt:lpstr>Počty pracovníků v zařízeních sociálních služeb  s nákazou COVID-19</vt:lpstr>
      <vt:lpstr>Počty nově COVID-19 pozitivních pracovníků  v zařízeních sociálních služeb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497</cp:revision>
  <dcterms:created xsi:type="dcterms:W3CDTF">2020-03-16T10:06:11Z</dcterms:created>
  <dcterms:modified xsi:type="dcterms:W3CDTF">2021-03-07T20:36:57Z</dcterms:modified>
</cp:coreProperties>
</file>